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7.xml" ContentType="application/vnd.openxmlformats-officedocument.presentationml.tags+xml"/>
  <Override PartName="/ppt/charts/chart8.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39.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charts/chart11.xml" ContentType="application/vnd.openxmlformats-officedocument.drawingml.chart+xml"/>
  <Override PartName="/ppt/tags/tag41.xml" ContentType="application/vnd.openxmlformats-officedocument.presentationml.tags+xml"/>
  <Override PartName="/ppt/charts/chart12.xml" ContentType="application/vnd.openxmlformats-officedocument.drawingml.chart+xml"/>
  <Override PartName="/ppt/tags/tag42.xml" ContentType="application/vnd.openxmlformats-officedocument.presentationml.tags+xml"/>
  <Override PartName="/ppt/charts/chart13.xml" ContentType="application/vnd.openxmlformats-officedocument.drawingml.chart+xml"/>
  <Override PartName="/ppt/tags/tag43.xml" ContentType="application/vnd.openxmlformats-officedocument.presentationml.tags+xml"/>
  <Override PartName="/ppt/charts/chart14.xml" ContentType="application/vnd.openxmlformats-officedocument.drawingml.chart+xml"/>
  <Override PartName="/ppt/tags/tag44.xml" ContentType="application/vnd.openxmlformats-officedocument.presentationml.tags+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ags/tag45.xml" ContentType="application/vnd.openxmlformats-officedocument.presentationml.tag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46.xml" ContentType="application/vnd.openxmlformats-officedocument.presentationml.tags+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3.xml" ContentType="application/vnd.openxmlformats-officedocument.drawingml.chart+xml"/>
  <Override PartName="/ppt/charts/style13.xml" ContentType="application/vnd.ms-office.chartstyle+xml"/>
  <Override PartName="/ppt/charts/colors13.xml" ContentType="application/vnd.ms-office.chartcolorstyle+xml"/>
  <Override PartName="/ppt/tags/tag47.xml" ContentType="application/vnd.openxmlformats-officedocument.presentationml.tags+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charts/chart26.xml" ContentType="application/vnd.openxmlformats-officedocument.drawingml.chart+xml"/>
  <Override PartName="/ppt/tags/tag49.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5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3.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notesSlides/notesSlide8.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ags/tag55.xml" ContentType="application/vnd.openxmlformats-officedocument.presentationml.tags+xml"/>
  <Override PartName="/ppt/notesSlides/notesSlide9.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9.xml" ContentType="application/vnd.openxmlformats-officedocument.drawingml.chart+xml"/>
  <Override PartName="/ppt/charts/style18.xml" ContentType="application/vnd.ms-office.chartstyle+xml"/>
  <Override PartName="/ppt/charts/colors18.xml" ContentType="application/vnd.ms-office.chartcolorstyle+xml"/>
  <Override PartName="/ppt/tags/tag56.xml" ContentType="application/vnd.openxmlformats-officedocument.presentationml.tags+xml"/>
  <Override PartName="/ppt/notesSlides/notesSlide10.xml" ContentType="application/vnd.openxmlformats-officedocument.presentationml.notesSlide+xml"/>
  <Override PartName="/ppt/charts/chart5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5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52.xml" ContentType="application/vnd.openxmlformats-officedocument.drawingml.chart+xml"/>
  <Override PartName="/ppt/charts/style21.xml" ContentType="application/vnd.ms-office.chartstyle+xml"/>
  <Override PartName="/ppt/charts/colors21.xml" ContentType="application/vnd.ms-office.chartcolorstyle+xml"/>
  <Override PartName="/ppt/tags/tag57.xml" ContentType="application/vnd.openxmlformats-officedocument.presentationml.tags+xml"/>
  <Override PartName="/ppt/notesSlides/notesSlide11.xml" ContentType="application/vnd.openxmlformats-officedocument.presentationml.notesSlide+xml"/>
  <Override PartName="/ppt/charts/chart5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5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5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56.xml" ContentType="application/vnd.openxmlformats-officedocument.drawingml.chart+xml"/>
  <Override PartName="/ppt/charts/style25.xml" ContentType="application/vnd.ms-office.chartstyle+xml"/>
  <Override PartName="/ppt/charts/colors2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35"/>
  </p:notesMasterIdLst>
  <p:sldIdLst>
    <p:sldId id="2147329454" r:id="rId5"/>
    <p:sldId id="2147475152" r:id="rId6"/>
    <p:sldId id="2147475178" r:id="rId7"/>
    <p:sldId id="2147473013" r:id="rId8"/>
    <p:sldId id="2147475151" r:id="rId9"/>
    <p:sldId id="2147473025" r:id="rId10"/>
    <p:sldId id="2147473029" r:id="rId11"/>
    <p:sldId id="2147473030" r:id="rId12"/>
    <p:sldId id="2147378510" r:id="rId13"/>
    <p:sldId id="2147378508" r:id="rId14"/>
    <p:sldId id="2147472930" r:id="rId15"/>
    <p:sldId id="2147475193" r:id="rId16"/>
    <p:sldId id="2147378386" r:id="rId17"/>
    <p:sldId id="2147471718" r:id="rId18"/>
    <p:sldId id="2147475156" r:id="rId19"/>
    <p:sldId id="2147378154" r:id="rId20"/>
    <p:sldId id="2147378155" r:id="rId21"/>
    <p:sldId id="2147378156" r:id="rId22"/>
    <p:sldId id="2147378157" r:id="rId23"/>
    <p:sldId id="2147473882" r:id="rId24"/>
    <p:sldId id="2147475174" r:id="rId25"/>
    <p:sldId id="2147475173" r:id="rId26"/>
    <p:sldId id="2147475171" r:id="rId27"/>
    <p:sldId id="2147475170" r:id="rId28"/>
    <p:sldId id="370" r:id="rId29"/>
    <p:sldId id="2147475172" r:id="rId30"/>
    <p:sldId id="2147475182" r:id="rId31"/>
    <p:sldId id="2147475181" r:id="rId32"/>
    <p:sldId id="2147475180" r:id="rId33"/>
    <p:sldId id="2147475179"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09" d="100"/>
          <a:sy n="109" d="100"/>
        </p:scale>
        <p:origin x="734" y="8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DEC2644B-FBB3-4E70-8177-D39ED5E85D5B}"/>
    <pc:docChg chg="custSel modSld delMainMaster">
      <pc:chgData name="Neriman EL HADIDI" userId="4b24840c-84b3-44ac-9131-ca3568cb403b" providerId="ADAL" clId="{DEC2644B-FBB3-4E70-8177-D39ED5E85D5B}" dt="2024-11-01T09:06:09.704" v="16" actId="27918"/>
      <pc:docMkLst>
        <pc:docMk/>
      </pc:docMkLst>
      <pc:sldChg chg="delSp mod">
        <pc:chgData name="Neriman EL HADIDI" userId="4b24840c-84b3-44ac-9131-ca3568cb403b" providerId="ADAL" clId="{DEC2644B-FBB3-4E70-8177-D39ED5E85D5B}" dt="2024-11-01T09:05:30.544" v="12" actId="478"/>
        <pc:sldMkLst>
          <pc:docMk/>
          <pc:sldMk cId="3644918162" sldId="370"/>
        </pc:sldMkLst>
        <pc:spChg chg="del">
          <ac:chgData name="Neriman EL HADIDI" userId="4b24840c-84b3-44ac-9131-ca3568cb403b" providerId="ADAL" clId="{DEC2644B-FBB3-4E70-8177-D39ED5E85D5B}" dt="2024-11-01T09:05:30.544" v="12" actId="478"/>
          <ac:spMkLst>
            <pc:docMk/>
            <pc:sldMk cId="3644918162" sldId="370"/>
            <ac:spMk id="2" creationId="{6F37D498-61D2-430B-0FFE-1D6053FC2C2E}"/>
          </ac:spMkLst>
        </pc:spChg>
        <pc:spChg chg="del">
          <ac:chgData name="Neriman EL HADIDI" userId="4b24840c-84b3-44ac-9131-ca3568cb403b" providerId="ADAL" clId="{DEC2644B-FBB3-4E70-8177-D39ED5E85D5B}" dt="2024-11-01T09:05:30.544" v="12" actId="478"/>
          <ac:spMkLst>
            <pc:docMk/>
            <pc:sldMk cId="3644918162" sldId="370"/>
            <ac:spMk id="3" creationId="{E672400A-1108-3E3C-7422-CBA7B51FF8C8}"/>
          </ac:spMkLst>
        </pc:spChg>
      </pc:sldChg>
      <pc:sldChg chg="modSp mod">
        <pc:chgData name="Neriman EL HADIDI" userId="4b24840c-84b3-44ac-9131-ca3568cb403b" providerId="ADAL" clId="{DEC2644B-FBB3-4E70-8177-D39ED5E85D5B}" dt="2024-11-01T09:06:09.704" v="16" actId="27918"/>
        <pc:sldMkLst>
          <pc:docMk/>
          <pc:sldMk cId="1411033201" sldId="408"/>
        </pc:sldMkLst>
        <pc:graphicFrameChg chg="mod">
          <ac:chgData name="Neriman EL HADIDI" userId="4b24840c-84b3-44ac-9131-ca3568cb403b" providerId="ADAL" clId="{DEC2644B-FBB3-4E70-8177-D39ED5E85D5B}" dt="2024-11-01T09:05:51.351" v="13"/>
          <ac:graphicFrameMkLst>
            <pc:docMk/>
            <pc:sldMk cId="1411033201" sldId="408"/>
            <ac:graphicFrameMk id="16" creationId="{1500463F-9113-F853-0F0E-F384F111BD54}"/>
          </ac:graphicFrameMkLst>
        </pc:graphicFrameChg>
      </pc:sldChg>
      <pc:sldChg chg="modSp">
        <pc:chgData name="Neriman EL HADIDI" userId="4b24840c-84b3-44ac-9131-ca3568cb403b" providerId="ADAL" clId="{DEC2644B-FBB3-4E70-8177-D39ED5E85D5B}" dt="2024-11-01T09:01:17.763" v="4"/>
        <pc:sldMkLst>
          <pc:docMk/>
          <pc:sldMk cId="2693478404" sldId="2147329454"/>
        </pc:sldMkLst>
        <pc:graphicFrameChg chg="mod">
          <ac:chgData name="Neriman EL HADIDI" userId="4b24840c-84b3-44ac-9131-ca3568cb403b" providerId="ADAL" clId="{DEC2644B-FBB3-4E70-8177-D39ED5E85D5B}" dt="2024-11-01T09:01:10.407" v="3"/>
          <ac:graphicFrameMkLst>
            <pc:docMk/>
            <pc:sldMk cId="2693478404" sldId="2147329454"/>
            <ac:graphicFrameMk id="16" creationId="{D7F2F964-1E28-4339-8493-893E64CC273B}"/>
          </ac:graphicFrameMkLst>
        </pc:graphicFrameChg>
        <pc:graphicFrameChg chg="mod">
          <ac:chgData name="Neriman EL HADIDI" userId="4b24840c-84b3-44ac-9131-ca3568cb403b" providerId="ADAL" clId="{DEC2644B-FBB3-4E70-8177-D39ED5E85D5B}" dt="2024-11-01T09:01:17.763" v="4"/>
          <ac:graphicFrameMkLst>
            <pc:docMk/>
            <pc:sldMk cId="2693478404" sldId="2147329454"/>
            <ac:graphicFrameMk id="22" creationId="{B6BC63DB-BB68-E22B-6F46-70632876165B}"/>
          </ac:graphicFrameMkLst>
        </pc:graphicFrameChg>
      </pc:sldChg>
      <pc:sldChg chg="modSp">
        <pc:chgData name="Neriman EL HADIDI" userId="4b24840c-84b3-44ac-9131-ca3568cb403b" providerId="ADAL" clId="{DEC2644B-FBB3-4E70-8177-D39ED5E85D5B}" dt="2024-11-01T09:04:49.391" v="10"/>
        <pc:sldMkLst>
          <pc:docMk/>
          <pc:sldMk cId="1340521327" sldId="2147378386"/>
        </pc:sldMkLst>
        <pc:graphicFrameChg chg="mod">
          <ac:chgData name="Neriman EL HADIDI" userId="4b24840c-84b3-44ac-9131-ca3568cb403b" providerId="ADAL" clId="{DEC2644B-FBB3-4E70-8177-D39ED5E85D5B}" dt="2024-11-01T09:04:49.391" v="10"/>
          <ac:graphicFrameMkLst>
            <pc:docMk/>
            <pc:sldMk cId="1340521327" sldId="2147378386"/>
            <ac:graphicFrameMk id="22" creationId="{BDCCA8F9-9B4E-4C69-981A-F30479D8A570}"/>
          </ac:graphicFrameMkLst>
        </pc:graphicFrameChg>
      </pc:sldChg>
      <pc:sldChg chg="modSp mod">
        <pc:chgData name="Neriman EL HADIDI" userId="4b24840c-84b3-44ac-9131-ca3568cb403b" providerId="ADAL" clId="{DEC2644B-FBB3-4E70-8177-D39ED5E85D5B}" dt="2024-11-01T09:00:54.519" v="2" actId="14100"/>
        <pc:sldMkLst>
          <pc:docMk/>
          <pc:sldMk cId="1380102355" sldId="2147378506"/>
        </pc:sldMkLst>
        <pc:graphicFrameChg chg="mod modGraphic">
          <ac:chgData name="Neriman EL HADIDI" userId="4b24840c-84b3-44ac-9131-ca3568cb403b" providerId="ADAL" clId="{DEC2644B-FBB3-4E70-8177-D39ED5E85D5B}" dt="2024-11-01T09:00:54.519" v="2" actId="14100"/>
          <ac:graphicFrameMkLst>
            <pc:docMk/>
            <pc:sldMk cId="1380102355" sldId="2147378506"/>
            <ac:graphicFrameMk id="3" creationId="{BF02A555-6E65-401F-8EC5-C5F12914697A}"/>
          </ac:graphicFrameMkLst>
        </pc:graphicFrameChg>
      </pc:sldChg>
      <pc:sldChg chg="modSp">
        <pc:chgData name="Neriman EL HADIDI" userId="4b24840c-84b3-44ac-9131-ca3568cb403b" providerId="ADAL" clId="{DEC2644B-FBB3-4E70-8177-D39ED5E85D5B}" dt="2024-11-01T09:03:55.942" v="9"/>
        <pc:sldMkLst>
          <pc:docMk/>
          <pc:sldMk cId="3546637518" sldId="2147378510"/>
        </pc:sldMkLst>
        <pc:graphicFrameChg chg="mod">
          <ac:chgData name="Neriman EL HADIDI" userId="4b24840c-84b3-44ac-9131-ca3568cb403b" providerId="ADAL" clId="{DEC2644B-FBB3-4E70-8177-D39ED5E85D5B}" dt="2024-11-01T09:03:55.942" v="9"/>
          <ac:graphicFrameMkLst>
            <pc:docMk/>
            <pc:sldMk cId="3546637518" sldId="2147378510"/>
            <ac:graphicFrameMk id="6" creationId="{903336ED-9778-D2E5-A3B1-EA932B617DB3}"/>
          </ac:graphicFrameMkLst>
        </pc:graphicFrameChg>
        <pc:graphicFrameChg chg="mod">
          <ac:chgData name="Neriman EL HADIDI" userId="4b24840c-84b3-44ac-9131-ca3568cb403b" providerId="ADAL" clId="{DEC2644B-FBB3-4E70-8177-D39ED5E85D5B}" dt="2024-11-01T09:03:47.948" v="8"/>
          <ac:graphicFrameMkLst>
            <pc:docMk/>
            <pc:sldMk cId="3546637518" sldId="2147378510"/>
            <ac:graphicFrameMk id="20" creationId="{4F1AC2C4-E03E-4D63-9CFE-5DD45DD67548}"/>
          </ac:graphicFrameMkLst>
        </pc:graphicFrameChg>
      </pc:sldChg>
      <pc:sldChg chg="modSp">
        <pc:chgData name="Neriman EL HADIDI" userId="4b24840c-84b3-44ac-9131-ca3568cb403b" providerId="ADAL" clId="{DEC2644B-FBB3-4E70-8177-D39ED5E85D5B}" dt="2024-11-01T09:04:58.900" v="11"/>
        <pc:sldMkLst>
          <pc:docMk/>
          <pc:sldMk cId="2800720980" sldId="2147471718"/>
        </pc:sldMkLst>
        <pc:graphicFrameChg chg="mod">
          <ac:chgData name="Neriman EL HADIDI" userId="4b24840c-84b3-44ac-9131-ca3568cb403b" providerId="ADAL" clId="{DEC2644B-FBB3-4E70-8177-D39ED5E85D5B}" dt="2024-11-01T09:04:58.900" v="11"/>
          <ac:graphicFrameMkLst>
            <pc:docMk/>
            <pc:sldMk cId="2800720980" sldId="2147471718"/>
            <ac:graphicFrameMk id="22" creationId="{BDCCA8F9-9B4E-4C69-981A-F30479D8A570}"/>
          </ac:graphicFrameMkLst>
        </pc:graphicFrameChg>
      </pc:sldChg>
      <pc:sldChg chg="modSp mod">
        <pc:chgData name="Neriman EL HADIDI" userId="4b24840c-84b3-44ac-9131-ca3568cb403b" providerId="ADAL" clId="{DEC2644B-FBB3-4E70-8177-D39ED5E85D5B}" dt="2024-11-01T09:06:06.280" v="15" actId="27918"/>
        <pc:sldMkLst>
          <pc:docMk/>
          <pc:sldMk cId="354591731" sldId="2147473384"/>
        </pc:sldMkLst>
        <pc:graphicFrameChg chg="mod">
          <ac:chgData name="Neriman EL HADIDI" userId="4b24840c-84b3-44ac-9131-ca3568cb403b" providerId="ADAL" clId="{DEC2644B-FBB3-4E70-8177-D39ED5E85D5B}" dt="2024-11-01T09:06:02.513" v="14"/>
          <ac:graphicFrameMkLst>
            <pc:docMk/>
            <pc:sldMk cId="354591731" sldId="2147473384"/>
            <ac:graphicFrameMk id="16" creationId="{1500463F-9113-F853-0F0E-F384F111BD54}"/>
          </ac:graphicFrameMkLst>
        </pc:graphicFrameChg>
      </pc:sldChg>
      <pc:sldChg chg="delSp mod">
        <pc:chgData name="Neriman EL HADIDI" userId="4b24840c-84b3-44ac-9131-ca3568cb403b" providerId="ADAL" clId="{DEC2644B-FBB3-4E70-8177-D39ED5E85D5B}" dt="2024-11-01T09:02:21.352" v="5" actId="478"/>
        <pc:sldMkLst>
          <pc:docMk/>
          <pc:sldMk cId="3548136992" sldId="2147475151"/>
        </pc:sldMkLst>
        <pc:spChg chg="del">
          <ac:chgData name="Neriman EL HADIDI" userId="4b24840c-84b3-44ac-9131-ca3568cb403b" providerId="ADAL" clId="{DEC2644B-FBB3-4E70-8177-D39ED5E85D5B}" dt="2024-11-01T09:02:21.352" v="5" actId="478"/>
          <ac:spMkLst>
            <pc:docMk/>
            <pc:sldMk cId="3548136992" sldId="2147475151"/>
            <ac:spMk id="13" creationId="{07164268-310E-52F7-2DCD-44921744491C}"/>
          </ac:spMkLst>
        </pc:spChg>
      </pc:sldChg>
      <pc:sldMasterChg chg="del">
        <pc:chgData name="Neriman EL HADIDI" userId="4b24840c-84b3-44ac-9131-ca3568cb403b" providerId="ADAL" clId="{DEC2644B-FBB3-4E70-8177-D39ED5E85D5B}" dt="2024-11-01T09:00:26.894" v="0" actId="2696"/>
        <pc:sldMasterMkLst>
          <pc:docMk/>
          <pc:sldMasterMk cId="823099819" sldId="2147483792"/>
        </pc:sldMasterMkLst>
      </pc:sldMasterChg>
      <pc:sldMasterChg chg="del">
        <pc:chgData name="Neriman EL HADIDI" userId="4b24840c-84b3-44ac-9131-ca3568cb403b" providerId="ADAL" clId="{DEC2644B-FBB3-4E70-8177-D39ED5E85D5B}" dt="2024-11-01T09:00:36.050" v="1" actId="2696"/>
        <pc:sldMasterMkLst>
          <pc:docMk/>
          <pc:sldMasterMk cId="2323846169" sldId="2147483844"/>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0.xml"/><Relationship Id="rId1" Type="http://schemas.microsoft.com/office/2011/relationships/chartStyle" Target="style1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1.xml"/><Relationship Id="rId1" Type="http://schemas.microsoft.com/office/2011/relationships/chartStyle" Target="style1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2.xml"/><Relationship Id="rId1" Type="http://schemas.microsoft.com/office/2011/relationships/chartStyle" Target="style1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3.xml"/><Relationship Id="rId1" Type="http://schemas.microsoft.com/office/2011/relationships/chartStyle" Target="style1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16.xml"/><Relationship Id="rId1" Type="http://schemas.microsoft.com/office/2011/relationships/chartStyle" Target="style1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17.xml"/><Relationship Id="rId1" Type="http://schemas.microsoft.com/office/2011/relationships/chartStyle" Target="style1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8.xml"/><Relationship Id="rId1" Type="http://schemas.microsoft.com/office/2011/relationships/chartStyle" Target="style1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9.xml"/><Relationship Id="rId1" Type="http://schemas.microsoft.com/office/2011/relationships/chartStyle" Target="style19.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20.xml"/><Relationship Id="rId1" Type="http://schemas.microsoft.com/office/2011/relationships/chartStyle" Target="style20.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21.xml"/><Relationship Id="rId1" Type="http://schemas.microsoft.com/office/2011/relationships/chartStyle" Target="style2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22.xml"/><Relationship Id="rId1" Type="http://schemas.microsoft.com/office/2011/relationships/chartStyle" Target="style22.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3.xml"/><Relationship Id="rId1" Type="http://schemas.microsoft.com/office/2011/relationships/chartStyle" Target="style23.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4.xml"/><Relationship Id="rId1" Type="http://schemas.microsoft.com/office/2011/relationships/chartStyle" Target="style24.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5.xml"/><Relationship Id="rId1" Type="http://schemas.microsoft.com/office/2011/relationships/chartStyle" Target="style2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756328472E-2"/>
          <c:y val="3.7948661595622463E-2"/>
          <c:w val="0.93691511195956778"/>
          <c:h val="0.78210123658438346"/>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Feature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1018634592872957"/>
          <c:y val="0.9195782501361186"/>
          <c:w val="0.34355071262700604"/>
          <c:h val="8.0421749863881425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893728980341809E-2"/>
          <c:y val="4.1660304546965121E-2"/>
          <c:w val="0.93691511195956778"/>
          <c:h val="0.7820524939432844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B$2:$B$13</c:f>
              <c:numCache>
                <c:formatCode>General</c:formatCode>
                <c:ptCount val="12"/>
                <c:pt idx="0">
                  <c:v>0.14887630398893711</c:v>
                </c:pt>
                <c:pt idx="1">
                  <c:v>0.14753507602507279</c:v>
                </c:pt>
                <c:pt idx="2">
                  <c:v>7.5169440447029987E-2</c:v>
                </c:pt>
                <c:pt idx="3">
                  <c:v>4.1742361940454768E-2</c:v>
                </c:pt>
                <c:pt idx="4">
                  <c:v>3.0456510717473014E-2</c:v>
                </c:pt>
                <c:pt idx="5">
                  <c:v>1.8965164593235755E-2</c:v>
                </c:pt>
                <c:pt idx="6">
                  <c:v>1.6475895117738282E-2</c:v>
                </c:pt>
                <c:pt idx="7">
                  <c:v>1.4455972273459553E-2</c:v>
                </c:pt>
                <c:pt idx="8">
                  <c:v>1.4356859550613872E-2</c:v>
                </c:pt>
                <c:pt idx="9">
                  <c:v>1.4154421307888014E-2</c:v>
                </c:pt>
                <c:pt idx="10">
                  <c:v>1.3893394204016671E-2</c:v>
                </c:pt>
                <c:pt idx="11">
                  <c:v>1.143350298583968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Display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Gerolsteiner</c:v>
                </c:pt>
                <c:pt idx="2">
                  <c:v>Volvic</c:v>
                </c:pt>
                <c:pt idx="3">
                  <c:v>Adelholzener</c:v>
                </c:pt>
                <c:pt idx="4">
                  <c:v>Vittel</c:v>
                </c:pt>
                <c:pt idx="5">
                  <c:v>Rosbacher</c:v>
                </c:pt>
                <c:pt idx="6">
                  <c:v>Frankenbrunnen</c:v>
                </c:pt>
                <c:pt idx="7">
                  <c:v>Vilsa</c:v>
                </c:pt>
                <c:pt idx="8">
                  <c:v>Staatl Fachingen</c:v>
                </c:pt>
                <c:pt idx="9">
                  <c:v>Elisabethen</c:v>
                </c:pt>
                <c:pt idx="10">
                  <c:v>Rhoen Sprudel</c:v>
                </c:pt>
                <c:pt idx="11">
                  <c:v>Vio</c:v>
                </c:pt>
              </c:strCache>
            </c:strRef>
          </c:cat>
          <c:val>
            <c:numRef>
              <c:f>Sheet1!$C$2:$C$13</c:f>
              <c:numCache>
                <c:formatCode>General</c:formatCode>
                <c:ptCount val="12"/>
                <c:pt idx="0">
                  <c:v>9.1800439710634212E-3</c:v>
                </c:pt>
                <c:pt idx="1">
                  <c:v>0.2370275409572378</c:v>
                </c:pt>
                <c:pt idx="2">
                  <c:v>0.13304385637228747</c:v>
                </c:pt>
                <c:pt idx="3">
                  <c:v>5.7237173123776117E-2</c:v>
                </c:pt>
                <c:pt idx="4">
                  <c:v>0.10331603365087226</c:v>
                </c:pt>
                <c:pt idx="5">
                  <c:v>4.3563005891645391E-2</c:v>
                </c:pt>
                <c:pt idx="6">
                  <c:v>2.8912250554856692E-2</c:v>
                </c:pt>
                <c:pt idx="7">
                  <c:v>1.2316292813085248E-2</c:v>
                </c:pt>
                <c:pt idx="8">
                  <c:v>1.313011026521714E-2</c:v>
                </c:pt>
                <c:pt idx="9">
                  <c:v>2.5815096034049897E-2</c:v>
                </c:pt>
                <c:pt idx="10">
                  <c:v>1.9127019902252872E-2</c:v>
                </c:pt>
                <c:pt idx="11">
                  <c:v>1.7855771079084613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a:pPr>
            <a:endParaRPr lang="en-US"/>
          </a:p>
        </c:txPr>
        <c:crossAx val="1433501040"/>
        <c:crosses val="autoZero"/>
        <c:auto val="1"/>
        <c:lblAlgn val="ctr"/>
        <c:lblOffset val="100"/>
        <c:noMultiLvlLbl val="0"/>
      </c:catAx>
      <c:valAx>
        <c:axId val="1433501040"/>
        <c:scaling>
          <c:orientation val="minMax"/>
        </c:scaling>
        <c:delete val="1"/>
        <c:axPos val="l"/>
        <c:numFmt formatCode="0%" sourceLinked="0"/>
        <c:majorTickMark val="out"/>
        <c:minorTickMark val="none"/>
        <c:tickLblPos val="nextTo"/>
        <c:crossAx val="1837882976"/>
        <c:crosses val="autoZero"/>
        <c:crossBetween val="between"/>
      </c:valAx>
      <c:spPr>
        <a:noFill/>
        <a:ln>
          <a:noFill/>
        </a:ln>
        <a:effectLst/>
      </c:spPr>
    </c:plotArea>
    <c:legend>
      <c:legendPos val="b"/>
      <c:layout>
        <c:manualLayout>
          <c:xMode val="edge"/>
          <c:yMode val="edge"/>
          <c:x val="0.36596513476788334"/>
          <c:y val="0.92935175768467493"/>
          <c:w val="0.26493263520201288"/>
          <c:h val="6.3586476328904809E-2"/>
        </c:manualLayout>
      </c:layou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1"/>
      <c:txPr>
        <a:bodyPr/>
        <a:lstStyle/>
        <a:p>
          <a:pPr>
            <a:defRPr sz="800">
              <a:latin typeface="Nexa Book"/>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504911576740711E-4"/>
          <c:y val="0"/>
          <c:w val="0.9991549508842325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8F9887CD-77E5-4DC8-B44E-66E161248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03D6BE2E-FF35-49AF-91D5-1E85BF1DE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5D3D2FE-6DB2-48E7-B085-462A84A61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A17EDE89-0309-446E-A731-F88242B3D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C82FBE55-AE6F-480B-B142-CF842F9FD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87F2A935-E7BD-4C6B-AF09-03104C663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76D844C9-020D-4693-ADF8-1631056B3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A9600BE7-B802-456A-B303-77008897B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E04E6A11-E1C0-41FE-96BF-2B67C6205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582A8995-AEDD-444F-B8F9-0B97D0443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42DB5C2B-AEB9-470D-9891-E86733A6F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F339D8AC-F7C9-4902-8396-A71E837C9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2C0AEB3E-E7DE-4A5E-B955-AC1BBC296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19B5B829-8B5D-414D-A5D6-BB7A8B3FB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E4CBB84D-B70B-4F91-B869-203C14710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7C669DB6-05FF-41EC-B705-A60C473D9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2B739C55-D1FD-49D6-A49E-EEC16F986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D4A7633F-6C08-4A91-81D5-6FF9511FA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2AE6A39A-2585-4532-A2C6-D18D9D329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972EFDF6-B873-4E28-B838-F9FF2C853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F1E92EEB-B54D-4D28-A7CB-8FCD43937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406A5E17-78EC-4CCD-B6CB-3ED0BB60F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362E2D5F-7F57-484C-88B6-6C283ABC3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2272978F-E48F-4EA5-9E3B-5E7D43FB1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236F9F9A-DC89-43DC-8389-6E9D1BADD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C5ED126C-0E7B-4126-A4D2-30E106833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241B1343-BDCB-4F27-A64E-8835F85F5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2FC81D72-50DF-4322-8C08-20A9A5305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637F15BB-9B26-4933-94FD-47E9DF982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0F3C232D-E360-4F89-B63B-4F76E581D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87219786-8FDC-44BA-9A56-083733CB5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41168440-000A-4FC2-B427-B14F2A3AC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41517DCC-7325-4EB2-9035-3AB014E33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2F09F697-8496-47C1-84DE-86C926332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3B894958-B0D7-4BEF-9200-A639541A1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55682700-F89A-4785-9AB4-092F6C219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15DAA848-D17C-425B-B255-C4EF0B525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3908CB3C-B2FD-4BCE-AF02-4071775EA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30E90626-6763-4F98-9FCD-B30031894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488439BE-D5B7-41C7-AE45-8DC7987FE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DF258BB4-A07A-419E-8A84-1A3797C5B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DADACC1A-FCCB-44FD-B566-DAB768814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56FB0BD6-4C69-4669-B352-1544391A0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656EF3BF-B681-47EF-9C38-E6A25072A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FC45BE39-D19C-4A67-90ED-59A486F47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1F4845B2-0D4A-466B-A9B7-6743C3F3A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74E9CA4B-3D2F-4009-98FA-6C99B0763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2DCCD63C-19A4-4431-908E-A18BEB620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24934B0B-C964-49C7-BF5A-8A697229F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E85FE696-A0D4-409C-A7B9-009922A45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B36F2EAC-6CDE-4281-B821-6CB5AAC90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86B57D4F-070F-4F79-9343-A63549DA4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0ACD58C1-8589-4CC1-907F-AF6CA040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CBB9EE6E-3F81-4E03-BE67-5D445872E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001EB8DF-4A2D-4096-8C4B-844FB6D0F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3F683049-C4F1-483B-B5D7-66155E3B9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19B666E0-7838-4FD6-A81E-2D281401E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3708EBDE-B977-45F7-B785-00334041A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6456B1F2-C55C-42C1-B90B-8F1531086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ABD4C345-D72A-4BAA-8FD1-3630E6F7B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E7829C48-7962-4766-8941-9E986325B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A6A2028F-07C0-4CBC-907E-F8D685059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B712539C-A94D-4135-977C-C03AF53AD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BDEE9F33-A6C3-4E5C-BF3A-C2772CC86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EAD94387-8E4A-4010-BF9A-4F1FF0953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AD98A468-5418-48EC-B9BF-8D6BABF60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788B9AFA-638C-42F0-8954-747F3F813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71B3DF2C-FFA0-473F-BA55-BA5F45074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F320C8E4-7A4C-456F-867B-CF34583D7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D6A7477B-E502-44C5-A841-1BD68F14A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EB1AB59D-AF0D-42BC-BC74-A33EB8C21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E9EBBE3F-2206-4AE9-99A1-ED78A9A50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B5DBEA97-0B29-4959-A57A-3F168DD9B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8F88C938-A3FB-4A37-82EB-7EB99869C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F70E3347-2F56-4B9B-A63D-7665F7B53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BD7595CC-F36E-4217-BF92-BA30768BB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6DDF780B-DEE3-40CE-B38E-017191CFF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03E2361D-C636-4B8D-8B39-274950C0F6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6164B3C6-D5A9-4477-BBA0-3F6CEE056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8A6F6A81-37FC-4324-9BB3-FB3943B13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88AC80CE-6D9A-4207-AAEA-D94B7EFDC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A1FA5B51-E0F5-4691-A5A1-D7667D589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412E606A-E140-4295-84C3-60905583D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EC0E2D26-B162-4D37-B822-45C25C67F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5651CE86-996D-447F-8401-7074A8EDA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086262C1-D9ED-491F-B881-BDF76C241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C0A44F62-A3E0-4B91-9B0F-35663DD42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A198745C-FCBE-43DC-AAC9-CFDEED7C7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BE745502-07F5-4C9B-A570-FDBE050D9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D54EFE77-F703-4B24-955D-EADE71F38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2DDBA4AC-07B9-4139-A0BF-B55C979EE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E8EA88B1-FF93-41B0-85EC-A8A030F5D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4900813C-0958-4966-90FE-E6A7FB04D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430CA597-8C20-4732-80E6-1189C6CD7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DDEECEB6-09FE-4273-B344-AB1895BF0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D8CF6579-BCEF-4F16-8821-0A828788F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F6B031B1-A081-44E7-B12B-96BCF9DBD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C23BC39F-474B-45C4-87F8-1F36DEFE3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169FD5C8-5C45-4F60-9608-7718AD589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67543A10-5173-4161-B358-902F93D6E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0B598733-FD64-4399-B345-92F8EDB91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6B2EBEB8-EB9B-48B3-8412-2520CAF50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D0BA82E4-A911-4E2E-A1C6-85F4233AC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67542520-BF8F-4078-969E-549A7D52D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92F1967E-BACC-4BE0-B2A0-32D6D1EF6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A92F2D9F-0CE4-46C7-A4FC-F5547B3E2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9888D0C9-0835-4D95-A129-AF6F5F74B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6D697FFE-1ACC-4FD7-8783-AB47B4FC6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569283C2-E6F9-47E4-99DD-927647F85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DF415A2A-9D81-4048-AFFF-578BA5352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4A168BF0-DBFF-497A-9517-432B5D8D3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706FD21D-BBF8-41EC-814A-B9F8FD605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0280A135-66E0-49AE-8316-E00DF5928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CADCD29C-A340-4C44-9AC6-93385AFEB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BC1EDFFA-2CA1-40B9-B61E-412D9BEAB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71F9DF0F-4B3F-4879-A87B-A8E609D62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0-9B64-4614-A4EF-2F0C825129C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21BF-47A7-B366-E3F0AD114BCE}"/>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0-3CBE-4AE8-80EA-8E325A05E683}"/>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D010-4ADB-9B73-BF9B36FE3842}"/>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BF7583E2-35EB-4CF1-A51D-F37905A9C8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7168122A-BC32-4CF7-B1A4-D5A3754317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20BFFE9B-62A1-4A8A-98F3-44A763FA46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E894C702-C227-4EB5-AB08-00A4A328B2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A3418492-A491-4720-88B4-1FB6B6B146A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62CBD28F-5DA0-4774-99F8-6D6E90B3AF6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B5BFAAFE-A76E-46E7-B0FE-F3C6FA933AC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CFBA7F82-FB02-4D46-810E-510D6DA7F3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87116037-FE1A-47DA-AE72-AB3843AFC3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F321A716-B3D9-43C8-B122-D560B31A76C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B460E1F6-12CC-4AE4-BAC3-4015B1D4CE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9D95E3B2-CF51-4B98-9D05-A84D1C4AAC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1DF43BA5-DE98-4C32-A278-3C20ACEACF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56596C4D-5249-4C0A-B70E-07CF83DE9C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076CD4EE-95AD-49DE-9D3D-4C5749EDB1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6C63A343-346A-4D15-ABC7-ADFA66EEA2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7306188F-85A6-42B7-80A9-724C958CF6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633C5FAB-A798-4C1E-8324-3EE6A0B1EB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DE804503-1144-4589-A7A2-43CBC0C1D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55B98CB4-8552-412F-AC30-274DAA7428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B6E672EF-7B42-4FA1-B55C-3A54563088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CC1087F7-7E70-4C77-857E-2B70406282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6ADDFE81-51C4-4E40-AAAE-1461CC4273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8B248B69-E4A6-4D54-91FD-CB3F8B44F9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DBBD5C55-BD8C-4A15-8176-F945B6512E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C7C56FBD-6ED9-4303-A50D-B56F817656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58FB8BF2-8BD8-408F-80BB-FA86760122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746C3938-300D-4B5F-8BBA-4D39742AD2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6451D890-B04E-400F-ACEC-82B54FEAAC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454B931C-D8B4-4BF8-BC52-83628326CA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04A6CAF2-391F-4170-A297-8617A7D26B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0209FC82-2A0D-4E45-9ACC-C49631E0D63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B8C02FB2-CF7F-4E08-976E-B9FF46717B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C7A3E41C-BE4E-4109-95FC-8EADFA9A128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433EC944-C705-468E-8F02-E9B2161978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D2865F07-52B9-4DF5-8CB3-976E01879D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07880E25-1FA1-4E45-AC47-7D4A64725A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7706016A-0D03-41D1-B21D-A77D58B32B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6ABAF7B-543B-41F4-855D-B16B4B5371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6D882B3-EAB8-4A52-ABF7-8B3A719921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198D82C3-E6AE-4F55-BF83-1E870A80C4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7DA5A4D7-605C-4AE2-92F9-2C888D606A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2DECEA7C-519A-4FB1-9D0D-3CBE75494B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099F4579-A11D-4057-B8C0-BA3689624A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E041E683-429A-4576-80B3-E81567097D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6AE88C84-0037-4C40-99A6-B9B8C3B379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44E7833-30E4-4750-A165-2DD3586A8D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E2FA1E53-D9F5-4641-8547-458C3B589D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H$1</c:f>
              <c:strCache>
                <c:ptCount val="1"/>
                <c:pt idx="0">
                  <c:v>Total Beer</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H$2:$H$37</c:f>
              <c:numCache>
                <c:formatCode>0%</c:formatCode>
                <c:ptCount val="36"/>
                <c:pt idx="0">
                  <c:v>0.95546131454801952</c:v>
                </c:pt>
                <c:pt idx="1">
                  <c:v>1.0658820616078615</c:v>
                </c:pt>
                <c:pt idx="2">
                  <c:v>1.2845151692566505</c:v>
                </c:pt>
                <c:pt idx="3">
                  <c:v>1.3313017548720483</c:v>
                </c:pt>
                <c:pt idx="4">
                  <c:v>1.1068184803119951</c:v>
                </c:pt>
                <c:pt idx="5">
                  <c:v>0.94899677223263834</c:v>
                </c:pt>
                <c:pt idx="6">
                  <c:v>0.83477183537813959</c:v>
                </c:pt>
                <c:pt idx="7">
                  <c:v>0.84011161209200691</c:v>
                </c:pt>
                <c:pt idx="8">
                  <c:v>0.77917016473858225</c:v>
                </c:pt>
                <c:pt idx="9">
                  <c:v>0.71206172491546882</c:v>
                </c:pt>
                <c:pt idx="10">
                  <c:v>0.81106709556909162</c:v>
                </c:pt>
                <c:pt idx="11">
                  <c:v>0.9277477499727792</c:v>
                </c:pt>
                <c:pt idx="12">
                  <c:v>1.0920086483852394</c:v>
                </c:pt>
                <c:pt idx="13">
                  <c:v>1.1645640879461192</c:v>
                </c:pt>
                <c:pt idx="14">
                  <c:v>1.3394712489027132</c:v>
                </c:pt>
                <c:pt idx="15">
                  <c:v>1.385364724773833</c:v>
                </c:pt>
                <c:pt idx="16">
                  <c:v>1.09543210519944</c:v>
                </c:pt>
                <c:pt idx="17">
                  <c:v>0.98674858460748094</c:v>
                </c:pt>
                <c:pt idx="18">
                  <c:v>0.84917082857101733</c:v>
                </c:pt>
                <c:pt idx="19">
                  <c:v>0.85719303641823441</c:v>
                </c:pt>
                <c:pt idx="20">
                  <c:v>0.78197004161366457</c:v>
                </c:pt>
                <c:pt idx="21">
                  <c:v>0.69703071129708638</c:v>
                </c:pt>
                <c:pt idx="22">
                  <c:v>0.79071387982439756</c:v>
                </c:pt>
                <c:pt idx="23">
                  <c:v>0.88455450114308931</c:v>
                </c:pt>
                <c:pt idx="24">
                  <c:v>1.0196652421871197</c:v>
                </c:pt>
                <c:pt idx="25">
                  <c:v>1.1154654321101694</c:v>
                </c:pt>
                <c:pt idx="26">
                  <c:v>1.3246385889547703</c:v>
                </c:pt>
                <c:pt idx="27">
                  <c:v>1.3903689367482381</c:v>
                </c:pt>
                <c:pt idx="28">
                  <c:v>1.2142901567469886</c:v>
                </c:pt>
                <c:pt idx="29">
                  <c:v>1.0101815115591093</c:v>
                </c:pt>
                <c:pt idx="30">
                  <c:v>0.86238905481134409</c:v>
                </c:pt>
                <c:pt idx="31">
                  <c:v>0.90873194300402316</c:v>
                </c:pt>
                <c:pt idx="32">
                  <c:v>0.90889323356956364</c:v>
                </c:pt>
                <c:pt idx="33">
                  <c:v>0.95210305170981779</c:v>
                </c:pt>
                <c:pt idx="34">
                  <c:v>1.0118490056185914</c:v>
                </c:pt>
                <c:pt idx="35">
                  <c:v>1.1271547091020271</c:v>
                </c:pt>
              </c:numCache>
            </c:numRef>
          </c:val>
          <c:extLst>
            <c:ext xmlns:c16="http://schemas.microsoft.com/office/drawing/2014/chart" uri="{C3380CC4-5D6E-409C-BE32-E72D297353CC}">
              <c16:uniqueId val="{00000001-0A2C-49BD-A8FC-8FC0C3CC6F8F}"/>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03062232603219E-2"/>
          <c:y val="0.11501253847322537"/>
          <c:w val="0.96552354726914169"/>
          <c:h val="0.94320261756785895"/>
        </c:manualLayout>
      </c:layout>
      <c:barChart>
        <c:barDir val="col"/>
        <c:grouping val="clustered"/>
        <c:varyColors val="0"/>
        <c:ser>
          <c:idx val="3"/>
          <c:order val="0"/>
          <c:tx>
            <c:strRef>
              <c:f>Sheet1!$E$1</c:f>
              <c:strCache>
                <c:ptCount val="1"/>
                <c:pt idx="0">
                  <c:v>Nrgb</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E$2:$E$37</c:f>
              <c:numCache>
                <c:formatCode>0%</c:formatCode>
                <c:ptCount val="36"/>
                <c:pt idx="0">
                  <c:v>0.97346623595315596</c:v>
                </c:pt>
                <c:pt idx="1">
                  <c:v>1.0813626903488831</c:v>
                </c:pt>
                <c:pt idx="2">
                  <c:v>1.3072521133945396</c:v>
                </c:pt>
                <c:pt idx="3">
                  <c:v>1.3561873664469997</c:v>
                </c:pt>
                <c:pt idx="4">
                  <c:v>1.0898344432297895</c:v>
                </c:pt>
                <c:pt idx="5">
                  <c:v>0.88818527580076378</c:v>
                </c:pt>
                <c:pt idx="6">
                  <c:v>0.82040801349671721</c:v>
                </c:pt>
                <c:pt idx="7">
                  <c:v>0.92884068947869902</c:v>
                </c:pt>
                <c:pt idx="8">
                  <c:v>0.70958580508109725</c:v>
                </c:pt>
                <c:pt idx="9">
                  <c:v>0.62519713036216695</c:v>
                </c:pt>
                <c:pt idx="10">
                  <c:v>0.74014261308297413</c:v>
                </c:pt>
                <c:pt idx="11">
                  <c:v>0.94458038542152689</c:v>
                </c:pt>
                <c:pt idx="12">
                  <c:v>1.1010776516684742</c:v>
                </c:pt>
                <c:pt idx="13">
                  <c:v>1.2038247347286628</c:v>
                </c:pt>
                <c:pt idx="14">
                  <c:v>1.3819916874247298</c:v>
                </c:pt>
                <c:pt idx="15">
                  <c:v>1.4659290315492048</c:v>
                </c:pt>
                <c:pt idx="16">
                  <c:v>1.0938482636191424</c:v>
                </c:pt>
                <c:pt idx="17">
                  <c:v>0.97774590008408524</c:v>
                </c:pt>
                <c:pt idx="18">
                  <c:v>0.83163780148087829</c:v>
                </c:pt>
                <c:pt idx="19">
                  <c:v>0.92443899549705777</c:v>
                </c:pt>
                <c:pt idx="20">
                  <c:v>0.74983994709141588</c:v>
                </c:pt>
                <c:pt idx="21">
                  <c:v>0.64691968696880864</c:v>
                </c:pt>
                <c:pt idx="22">
                  <c:v>0.75565548841350183</c:v>
                </c:pt>
                <c:pt idx="23">
                  <c:v>0.88878856229882952</c:v>
                </c:pt>
                <c:pt idx="24">
                  <c:v>1.0291509922797555</c:v>
                </c:pt>
                <c:pt idx="25">
                  <c:v>1.1249568456998233</c:v>
                </c:pt>
                <c:pt idx="26">
                  <c:v>1.4078546885182839</c:v>
                </c:pt>
                <c:pt idx="27">
                  <c:v>1.4831419063050926</c:v>
                </c:pt>
                <c:pt idx="28">
                  <c:v>1.1973999712167878</c:v>
                </c:pt>
                <c:pt idx="29">
                  <c:v>0.95702186544084877</c:v>
                </c:pt>
                <c:pt idx="30">
                  <c:v>0.78691274365855679</c:v>
                </c:pt>
                <c:pt idx="31">
                  <c:v>0.97235730210829541</c:v>
                </c:pt>
                <c:pt idx="32">
                  <c:v>0.91585505205963347</c:v>
                </c:pt>
                <c:pt idx="33">
                  <c:v>0.9285825080337341</c:v>
                </c:pt>
                <c:pt idx="34">
                  <c:v>0.99989489099506379</c:v>
                </c:pt>
                <c:pt idx="35">
                  <c:v>1.1556675489115686</c:v>
                </c:pt>
              </c:numCache>
            </c:numRef>
          </c:val>
          <c:extLst>
            <c:ext xmlns:c16="http://schemas.microsoft.com/office/drawing/2014/chart" uri="{C3380CC4-5D6E-409C-BE32-E72D297353CC}">
              <c16:uniqueId val="{00000003-5FED-4CF9-B2A1-636C1E7435E8}"/>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C$1</c:f>
              <c:strCache>
                <c:ptCount val="1"/>
                <c:pt idx="0">
                  <c:v>Big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C$2:$C$37</c:f>
              <c:numCache>
                <c:formatCode>0%</c:formatCode>
                <c:ptCount val="36"/>
                <c:pt idx="0">
                  <c:v>0.97769335396900214</c:v>
                </c:pt>
                <c:pt idx="1">
                  <c:v>1.0684026941505411</c:v>
                </c:pt>
                <c:pt idx="2">
                  <c:v>1.227788338650863</c:v>
                </c:pt>
                <c:pt idx="3">
                  <c:v>1.2600249267555805</c:v>
                </c:pt>
                <c:pt idx="4">
                  <c:v>1.0918592645087959</c:v>
                </c:pt>
                <c:pt idx="5">
                  <c:v>0.95771669383942326</c:v>
                </c:pt>
                <c:pt idx="6">
                  <c:v>0.83219611340774713</c:v>
                </c:pt>
                <c:pt idx="7">
                  <c:v>0.81834298268274142</c:v>
                </c:pt>
                <c:pt idx="8">
                  <c:v>0.88385620277610388</c:v>
                </c:pt>
                <c:pt idx="9">
                  <c:v>0.80517208351256697</c:v>
                </c:pt>
                <c:pt idx="10">
                  <c:v>0.9015653700076367</c:v>
                </c:pt>
                <c:pt idx="11">
                  <c:v>0.96767243413039483</c:v>
                </c:pt>
                <c:pt idx="12">
                  <c:v>1.1135997973792224</c:v>
                </c:pt>
                <c:pt idx="13">
                  <c:v>1.1319284492778312</c:v>
                </c:pt>
                <c:pt idx="14">
                  <c:v>1.2471325483184159</c:v>
                </c:pt>
                <c:pt idx="15">
                  <c:v>1.2700266471810697</c:v>
                </c:pt>
                <c:pt idx="16">
                  <c:v>1.0558129473154825</c:v>
                </c:pt>
                <c:pt idx="17">
                  <c:v>0.96994353867049321</c:v>
                </c:pt>
                <c:pt idx="18">
                  <c:v>0.82763802860581237</c:v>
                </c:pt>
                <c:pt idx="19">
                  <c:v>0.82565195282496984</c:v>
                </c:pt>
                <c:pt idx="20">
                  <c:v>0.8734375393789986</c:v>
                </c:pt>
                <c:pt idx="21">
                  <c:v>0.77022486702200921</c:v>
                </c:pt>
                <c:pt idx="22">
                  <c:v>0.86712822471444584</c:v>
                </c:pt>
                <c:pt idx="23">
                  <c:v>0.92604347311977919</c:v>
                </c:pt>
                <c:pt idx="24">
                  <c:v>1.0342509203635326</c:v>
                </c:pt>
                <c:pt idx="25">
                  <c:v>1.0937835038941166</c:v>
                </c:pt>
                <c:pt idx="26">
                  <c:v>1.2287083096919564</c:v>
                </c:pt>
                <c:pt idx="27">
                  <c:v>1.3004179911042999</c:v>
                </c:pt>
                <c:pt idx="28">
                  <c:v>1.1552634977634784</c:v>
                </c:pt>
                <c:pt idx="29">
                  <c:v>0.98258002329880667</c:v>
                </c:pt>
                <c:pt idx="30">
                  <c:v>0.86772511051917489</c:v>
                </c:pt>
                <c:pt idx="31">
                  <c:v>0.90043653912940158</c:v>
                </c:pt>
                <c:pt idx="32">
                  <c:v>0.93139931325784975</c:v>
                </c:pt>
                <c:pt idx="33">
                  <c:v>0.96374922439900401</c:v>
                </c:pt>
                <c:pt idx="34">
                  <c:v>1.0313290190154365</c:v>
                </c:pt>
                <c:pt idx="35">
                  <c:v>1.0735224433277097</c:v>
                </c:pt>
              </c:numCache>
            </c:numRef>
          </c:val>
          <c:extLst>
            <c:ext xmlns:c16="http://schemas.microsoft.com/office/drawing/2014/chart" uri="{C3380CC4-5D6E-409C-BE32-E72D297353CC}">
              <c16:uniqueId val="{00000003-DDC5-4BB0-9697-B3C6B8123A4B}"/>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D$1</c:f>
              <c:strCache>
                <c:ptCount val="1"/>
                <c:pt idx="0">
                  <c:v>Can</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D$2:$D$37</c:f>
              <c:numCache>
                <c:formatCode>0%</c:formatCode>
                <c:ptCount val="36"/>
                <c:pt idx="0">
                  <c:v>0.97735978615950803</c:v>
                </c:pt>
                <c:pt idx="1">
                  <c:v>1.083530041128921</c:v>
                </c:pt>
                <c:pt idx="2">
                  <c:v>1.3669011866997434</c:v>
                </c:pt>
                <c:pt idx="3">
                  <c:v>1.3536110961997165</c:v>
                </c:pt>
                <c:pt idx="4">
                  <c:v>1.0282181550884235</c:v>
                </c:pt>
                <c:pt idx="5">
                  <c:v>0.89833467402918188</c:v>
                </c:pt>
                <c:pt idx="6">
                  <c:v>0.81859239811754014</c:v>
                </c:pt>
                <c:pt idx="7">
                  <c:v>0.8507952229424296</c:v>
                </c:pt>
                <c:pt idx="8">
                  <c:v>0.73762939503577918</c:v>
                </c:pt>
                <c:pt idx="9">
                  <c:v>0.68218881682196497</c:v>
                </c:pt>
                <c:pt idx="10">
                  <c:v>0.7575796813250365</c:v>
                </c:pt>
                <c:pt idx="11">
                  <c:v>0.92055483630650836</c:v>
                </c:pt>
                <c:pt idx="12">
                  <c:v>1.0915680840017985</c:v>
                </c:pt>
                <c:pt idx="13">
                  <c:v>1.1929137612785661</c:v>
                </c:pt>
                <c:pt idx="14">
                  <c:v>1.3948021002648652</c:v>
                </c:pt>
                <c:pt idx="15">
                  <c:v>1.4188639801888696</c:v>
                </c:pt>
                <c:pt idx="16">
                  <c:v>1.0783770646851871</c:v>
                </c:pt>
                <c:pt idx="17">
                  <c:v>0.97033613215978043</c:v>
                </c:pt>
                <c:pt idx="18">
                  <c:v>0.85675401083014457</c:v>
                </c:pt>
                <c:pt idx="19">
                  <c:v>0.89843213710149927</c:v>
                </c:pt>
                <c:pt idx="20">
                  <c:v>0.73048896520605999</c:v>
                </c:pt>
                <c:pt idx="21">
                  <c:v>0.66703125832099486</c:v>
                </c:pt>
                <c:pt idx="22">
                  <c:v>0.74060926482889589</c:v>
                </c:pt>
                <c:pt idx="23">
                  <c:v>0.86104337079131998</c:v>
                </c:pt>
                <c:pt idx="24">
                  <c:v>1.0180034856251248</c:v>
                </c:pt>
                <c:pt idx="25">
                  <c:v>1.1633321402422965</c:v>
                </c:pt>
                <c:pt idx="26">
                  <c:v>1.3983819729257696</c:v>
                </c:pt>
                <c:pt idx="27">
                  <c:v>1.4382841999907983</c:v>
                </c:pt>
                <c:pt idx="28">
                  <c:v>1.2147328953855996</c:v>
                </c:pt>
                <c:pt idx="29">
                  <c:v>1.0064172304867123</c:v>
                </c:pt>
                <c:pt idx="30">
                  <c:v>0.84639471783698872</c:v>
                </c:pt>
                <c:pt idx="31">
                  <c:v>0.91528049835943937</c:v>
                </c:pt>
                <c:pt idx="32">
                  <c:v>0.84244983935623963</c:v>
                </c:pt>
                <c:pt idx="33">
                  <c:v>0.92038639532838662</c:v>
                </c:pt>
                <c:pt idx="34">
                  <c:v>1.0481721229143046</c:v>
                </c:pt>
                <c:pt idx="35">
                  <c:v>1.1889916424010691</c:v>
                </c:pt>
              </c:numCache>
            </c:numRef>
          </c:val>
          <c:extLst>
            <c:ext xmlns:c16="http://schemas.microsoft.com/office/drawing/2014/chart" uri="{C3380CC4-5D6E-409C-BE32-E72D297353CC}">
              <c16:uniqueId val="{00000003-BAFB-416C-8099-2FCB03A791A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56786191020486465"/>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8830866852403085"/>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0C6F5DD5-5829-4515-A643-911F5004B3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738-4A3D-98BB-3D0CBF671497}"/>
                </c:ext>
              </c:extLst>
            </c:dLbl>
            <c:dLbl>
              <c:idx val="1"/>
              <c:tx>
                <c:rich>
                  <a:bodyPr/>
                  <a:lstStyle/>
                  <a:p>
                    <a:fld id="{0B7E2E92-66C7-4CE4-9CA7-E22AAC9951D5}" type="CELLRANGE">
                      <a:rPr lang="en-CH"/>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738-4A3D-98BB-3D0CBF671497}"/>
                </c:ext>
              </c:extLst>
            </c:dLbl>
            <c:dLbl>
              <c:idx val="2"/>
              <c:tx>
                <c:rich>
                  <a:bodyPr/>
                  <a:lstStyle/>
                  <a:p>
                    <a:fld id="{FB8B64DD-E12A-4654-A5EE-AF13A897FF28}"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738-4A3D-98BB-3D0CBF671497}"/>
                </c:ext>
              </c:extLst>
            </c:dLbl>
            <c:dLbl>
              <c:idx val="3"/>
              <c:tx>
                <c:rich>
                  <a:bodyPr/>
                  <a:lstStyle/>
                  <a:p>
                    <a:fld id="{BB6E9C8C-64FF-468E-B0C8-698BED99BD6A}"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738-4A3D-98BB-3D0CBF671497}"/>
                </c:ext>
              </c:extLst>
            </c:dLbl>
            <c:dLbl>
              <c:idx val="4"/>
              <c:tx>
                <c:rich>
                  <a:bodyPr/>
                  <a:lstStyle/>
                  <a:p>
                    <a:fld id="{43162ACD-E48A-4AB7-A7FF-13C8636AB906}"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738-4A3D-98BB-3D0CBF671497}"/>
                </c:ext>
              </c:extLst>
            </c:dLbl>
            <c:dLbl>
              <c:idx val="5"/>
              <c:tx>
                <c:rich>
                  <a:bodyPr/>
                  <a:lstStyle/>
                  <a:p>
                    <a:fld id="{F5F65747-0FE8-44D7-BED4-0961B8A18962}"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738-4A3D-98BB-3D0CBF671497}"/>
                </c:ext>
              </c:extLst>
            </c:dLbl>
            <c:dLbl>
              <c:idx val="6"/>
              <c:tx>
                <c:rich>
                  <a:bodyPr/>
                  <a:lstStyle/>
                  <a:p>
                    <a:fld id="{C42795C0-004E-45CE-B27C-C65FD9B3098D}"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738-4A3D-98BB-3D0CBF671497}"/>
                </c:ext>
              </c:extLst>
            </c:dLbl>
            <c:dLbl>
              <c:idx val="7"/>
              <c:tx>
                <c:rich>
                  <a:bodyPr/>
                  <a:lstStyle/>
                  <a:p>
                    <a:fld id="{CF828542-2588-4FF9-BC99-1C6C1FB46143}"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738-4A3D-98BB-3D0CBF671497}"/>
                </c:ext>
              </c:extLst>
            </c:dLbl>
            <c:dLbl>
              <c:idx val="8"/>
              <c:tx>
                <c:rich>
                  <a:bodyPr/>
                  <a:lstStyle/>
                  <a:p>
                    <a:fld id="{E2634684-EE1D-415C-A47D-EF34A290DF68}"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738-4A3D-98BB-3D0CBF671497}"/>
                </c:ext>
              </c:extLst>
            </c:dLbl>
            <c:dLbl>
              <c:idx val="9"/>
              <c:tx>
                <c:rich>
                  <a:bodyPr/>
                  <a:lstStyle/>
                  <a:p>
                    <a:fld id="{D2483508-9754-4D1B-856C-1D10C98B70E6}"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738-4A3D-98BB-3D0CBF671497}"/>
                </c:ext>
              </c:extLst>
            </c:dLbl>
            <c:dLbl>
              <c:idx val="1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C738-4A3D-98BB-3D0CBF671497}"/>
                </c:ext>
              </c:extLst>
            </c:dLbl>
            <c:dLbl>
              <c:idx val="1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C738-4A3D-98BB-3D0CBF671497}"/>
                </c:ext>
              </c:extLst>
            </c:dLbl>
            <c:dLbl>
              <c:idx val="1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C738-4A3D-98BB-3D0CBF671497}"/>
                </c:ext>
              </c:extLst>
            </c:dLbl>
            <c:dLbl>
              <c:idx val="13"/>
              <c:tx>
                <c:rich>
                  <a:bodyPr/>
                  <a:lstStyle/>
                  <a:p>
                    <a:fld id="{413E951C-FBF4-4645-AF2B-DD13FF7CD85C}"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C738-4A3D-98BB-3D0CBF671497}"/>
                </c:ext>
              </c:extLst>
            </c:dLbl>
            <c:dLbl>
              <c:idx val="14"/>
              <c:tx>
                <c:rich>
                  <a:bodyPr/>
                  <a:lstStyle/>
                  <a:p>
                    <a:fld id="{5E327674-038B-4BCB-871E-4E7EB6B23E63}"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C738-4A3D-98BB-3D0CBF671497}"/>
                </c:ext>
              </c:extLst>
            </c:dLbl>
            <c:dLbl>
              <c:idx val="15"/>
              <c:tx>
                <c:rich>
                  <a:bodyPr/>
                  <a:lstStyle/>
                  <a:p>
                    <a:fld id="{DA0ED82A-9B97-4A8B-A7B3-A9AD9A87DDD7}"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C738-4A3D-98BB-3D0CBF671497}"/>
                </c:ext>
              </c:extLst>
            </c:dLbl>
            <c:dLbl>
              <c:idx val="1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C738-4A3D-98BB-3D0CBF671497}"/>
                </c:ext>
              </c:extLst>
            </c:dLbl>
            <c:dLbl>
              <c:idx val="1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C738-4A3D-98BB-3D0CBF671497}"/>
                </c:ext>
              </c:extLst>
            </c:dLbl>
            <c:dLbl>
              <c:idx val="1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C738-4A3D-98BB-3D0CBF671497}"/>
                </c:ext>
              </c:extLst>
            </c:dLbl>
            <c:dLbl>
              <c:idx val="19"/>
              <c:tx>
                <c:rich>
                  <a:bodyPr/>
                  <a:lstStyle/>
                  <a:p>
                    <a:fld id="{A664A6A5-EDEB-473A-8208-99D13339A362}"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C738-4A3D-98BB-3D0CBF671497}"/>
                </c:ext>
              </c:extLst>
            </c:dLbl>
            <c:dLbl>
              <c:idx val="20"/>
              <c:tx>
                <c:rich>
                  <a:bodyPr/>
                  <a:lstStyle/>
                  <a:p>
                    <a:fld id="{315BF4A4-A6A5-485B-BC3D-C80EBC4522C2}"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C738-4A3D-98BB-3D0CBF671497}"/>
                </c:ext>
              </c:extLst>
            </c:dLbl>
            <c:dLbl>
              <c:idx val="21"/>
              <c:tx>
                <c:rich>
                  <a:bodyPr/>
                  <a:lstStyle/>
                  <a:p>
                    <a:fld id="{36D7AA01-52DD-4DFC-AD25-599DA1AE885C}"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C738-4A3D-98BB-3D0CBF671497}"/>
                </c:ext>
              </c:extLst>
            </c:dLbl>
            <c:dLbl>
              <c:idx val="2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C738-4A3D-98BB-3D0CBF671497}"/>
                </c:ext>
              </c:extLst>
            </c:dLbl>
            <c:dLbl>
              <c:idx val="23"/>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C738-4A3D-98BB-3D0CBF671497}"/>
                </c:ext>
              </c:extLst>
            </c:dLbl>
            <c:dLbl>
              <c:idx val="2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C738-4A3D-98BB-3D0CBF671497}"/>
                </c:ext>
              </c:extLst>
            </c:dLbl>
            <c:dLbl>
              <c:idx val="25"/>
              <c:tx>
                <c:rich>
                  <a:bodyPr/>
                  <a:lstStyle/>
                  <a:p>
                    <a:fld id="{3B40C753-A6F4-4090-860E-4BE6A6684A40}"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C738-4A3D-98BB-3D0CBF671497}"/>
                </c:ext>
              </c:extLst>
            </c:dLbl>
            <c:dLbl>
              <c:idx val="26"/>
              <c:tx>
                <c:rich>
                  <a:bodyPr/>
                  <a:lstStyle/>
                  <a:p>
                    <a:fld id="{86620569-BD81-49D0-8E41-0E364EF23542}"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C738-4A3D-98BB-3D0CBF671497}"/>
                </c:ext>
              </c:extLst>
            </c:dLbl>
            <c:dLbl>
              <c:idx val="27"/>
              <c:tx>
                <c:rich>
                  <a:bodyPr/>
                  <a:lstStyle/>
                  <a:p>
                    <a:fld id="{4B0A65E4-B04E-4816-9D2E-493C411664A7}"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C738-4A3D-98BB-3D0CBF671497}"/>
                </c:ext>
              </c:extLst>
            </c:dLbl>
            <c:dLbl>
              <c:idx val="28"/>
              <c:tx>
                <c:rich>
                  <a:bodyPr/>
                  <a:lstStyle/>
                  <a:p>
                    <a:fld id="{17D9C5B0-C1CE-433E-A3BD-FC17889034A9}"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C738-4A3D-98BB-3D0CBF671497}"/>
                </c:ext>
              </c:extLst>
            </c:dLbl>
            <c:dLbl>
              <c:idx val="2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C738-4A3D-98BB-3D0CBF671497}"/>
                </c:ext>
              </c:extLst>
            </c:dLbl>
            <c:dLbl>
              <c:idx val="3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C738-4A3D-98BB-3D0CBF671497}"/>
                </c:ext>
              </c:extLst>
            </c:dLbl>
            <c:dLbl>
              <c:idx val="31"/>
              <c:tx>
                <c:rich>
                  <a:bodyPr/>
                  <a:lstStyle/>
                  <a:p>
                    <a:fld id="{6C80370B-810D-4EBB-922A-12A4A7E20E5F}"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C738-4A3D-98BB-3D0CBF671497}"/>
                </c:ext>
              </c:extLst>
            </c:dLbl>
            <c:dLbl>
              <c:idx val="32"/>
              <c:tx>
                <c:rich>
                  <a:bodyPr/>
                  <a:lstStyle/>
                  <a:p>
                    <a:fld id="{B8B40DF2-DA28-445E-9DBA-92B330331B60}"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C738-4A3D-98BB-3D0CBF671497}"/>
                </c:ext>
              </c:extLst>
            </c:dLbl>
            <c:dLbl>
              <c:idx val="33"/>
              <c:tx>
                <c:rich>
                  <a:bodyPr/>
                  <a:lstStyle/>
                  <a:p>
                    <a:fld id="{05426A45-1F8B-40BF-8EB2-1D2CBAD83523}"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C738-4A3D-98BB-3D0CBF671497}"/>
                </c:ext>
              </c:extLst>
            </c:dLbl>
            <c:dLbl>
              <c:idx val="3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C738-4A3D-98BB-3D0CBF671497}"/>
                </c:ext>
              </c:extLst>
            </c:dLbl>
            <c:dLbl>
              <c:idx val="35"/>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C738-4A3D-98BB-3D0CBF671497}"/>
                </c:ext>
              </c:extLst>
            </c:dLbl>
            <c:dLbl>
              <c:idx val="3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C738-4A3D-98BB-3D0CBF671497}"/>
                </c:ext>
              </c:extLst>
            </c:dLbl>
            <c:dLbl>
              <c:idx val="37"/>
              <c:tx>
                <c:rich>
                  <a:bodyPr/>
                  <a:lstStyle/>
                  <a:p>
                    <a:fld id="{38FB645F-E503-4D65-B6FA-9D97534E8164}"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C738-4A3D-98BB-3D0CBF671497}"/>
                </c:ext>
              </c:extLst>
            </c:dLbl>
            <c:dLbl>
              <c:idx val="38"/>
              <c:tx>
                <c:rich>
                  <a:bodyPr/>
                  <a:lstStyle/>
                  <a:p>
                    <a:fld id="{03D15A9D-765C-4F45-BB0E-2E573AE33DC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C738-4A3D-98BB-3D0CBF671497}"/>
                </c:ext>
              </c:extLst>
            </c:dLbl>
            <c:dLbl>
              <c:idx val="39"/>
              <c:tx>
                <c:rich>
                  <a:bodyPr/>
                  <a:lstStyle/>
                  <a:p>
                    <a:fld id="{E396D5DD-B3ED-469B-9155-F4D2B5EDDD8D}"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C738-4A3D-98BB-3D0CBF671497}"/>
                </c:ext>
              </c:extLst>
            </c:dLbl>
            <c:dLbl>
              <c:idx val="4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C738-4A3D-98BB-3D0CBF671497}"/>
                </c:ext>
              </c:extLst>
            </c:dLbl>
            <c:dLbl>
              <c:idx val="4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C738-4A3D-98BB-3D0CBF671497}"/>
                </c:ext>
              </c:extLst>
            </c:dLbl>
            <c:dLbl>
              <c:idx val="4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C738-4A3D-98BB-3D0CBF671497}"/>
                </c:ext>
              </c:extLst>
            </c:dLbl>
            <c:dLbl>
              <c:idx val="43"/>
              <c:tx>
                <c:rich>
                  <a:bodyPr/>
                  <a:lstStyle/>
                  <a:p>
                    <a:fld id="{80CCC9F1-7D6C-4A39-AD37-7DB0F72AEF4B}"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C738-4A3D-98BB-3D0CBF671497}"/>
                </c:ext>
              </c:extLst>
            </c:dLbl>
            <c:dLbl>
              <c:idx val="44"/>
              <c:tx>
                <c:rich>
                  <a:bodyPr/>
                  <a:lstStyle/>
                  <a:p>
                    <a:fld id="{04B1CB0D-E167-4F91-ADEB-2FF9CAAED0C3}"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C738-4A3D-98BB-3D0CBF671497}"/>
                </c:ext>
              </c:extLst>
            </c:dLbl>
            <c:dLbl>
              <c:idx val="45"/>
              <c:tx>
                <c:rich>
                  <a:bodyPr/>
                  <a:lstStyle/>
                  <a:p>
                    <a:fld id="{468D1B66-60B1-47ED-BC26-A127F7DED71E}"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C738-4A3D-98BB-3D0CBF671497}"/>
                </c:ext>
              </c:extLst>
            </c:dLbl>
            <c:dLbl>
              <c:idx val="46"/>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C738-4A3D-98BB-3D0CBF671497}"/>
                </c:ext>
              </c:extLst>
            </c:dLbl>
            <c:dLbl>
              <c:idx val="4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C738-4A3D-98BB-3D0CBF671497}"/>
                </c:ext>
              </c:extLst>
            </c:dLbl>
            <c:dLbl>
              <c:idx val="4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C738-4A3D-98BB-3D0CBF671497}"/>
                </c:ext>
              </c:extLst>
            </c:dLbl>
            <c:dLbl>
              <c:idx val="49"/>
              <c:tx>
                <c:rich>
                  <a:bodyPr/>
                  <a:lstStyle/>
                  <a:p>
                    <a:fld id="{DA403DC7-8433-4480-847A-D8505D653E49}"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C738-4A3D-98BB-3D0CBF671497}"/>
                </c:ext>
              </c:extLst>
            </c:dLbl>
            <c:dLbl>
              <c:idx val="50"/>
              <c:tx>
                <c:rich>
                  <a:bodyPr/>
                  <a:lstStyle/>
                  <a:p>
                    <a:fld id="{51E3F130-A967-4EE8-806E-44F0C638945D}"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C738-4A3D-98BB-3D0CBF671497}"/>
                </c:ext>
              </c:extLst>
            </c:dLbl>
            <c:dLbl>
              <c:idx val="51"/>
              <c:tx>
                <c:rich>
                  <a:bodyPr/>
                  <a:lstStyle/>
                  <a:p>
                    <a:fld id="{8866AA9A-2080-4B28-BBA5-CF9AE45517DA}"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C738-4A3D-98BB-3D0CBF671497}"/>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C738-4A3D-98BB-3D0CBF671497}"/>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C738-4A3D-98BB-3D0CBF671497}"/>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ED046E7-6FEC-4430-9203-C47F9710FA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CDEEEA7E-E626-4075-9E9F-34CA280AC837}" type="CELLRANGE">
                      <a:rPr lang="en-CH"/>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6A04410D-F1AB-47B5-BCD2-149887C6841B}"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C8BD926B-E038-4723-A16F-7EC533C5B8DE}"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72FDB2ED-6D98-4E27-908C-A6D26B748E1A}"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C16FAD5D-4EAF-455A-82D7-3C2368169EE7}"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E0CE08F3-4021-46C4-AECE-832BF70EAD8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79B67D90-FF91-4640-9ADB-32748710F68E}"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DC61513E-92EB-4CD6-BE6A-3D970FA6064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9C436A8B-4BFA-4A9B-BC50-862E28F5DE0A}"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094AE4CB-E8B6-492F-9365-EA000AF7FE5A}"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17B51893-7583-4539-90B9-E0C86BD93539}"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F0AB34BA-9964-4E2D-B566-52AC439B7C42}"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5C1EA2C4-13DE-4D61-ACB9-B14C61162A82}"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7C8ED9E9-1AB7-42F6-9995-C4F043D1EC3C}"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78F3AF13-0FD2-4AF0-B566-4299FB7ED6BE}"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74927DAE-D7AF-47A8-9B14-2C4F935DFCA4}"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BD3E076F-CE25-423A-8C6A-09F7DE078B2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819DDE62-6389-4849-9798-48DD59FB631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E269562F-4CEB-4CE6-9EA7-72C44E886089}"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20BB4946-DF55-48F0-957C-50DB546B31CF}"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06CDAB58-36F5-4D41-83F7-113CDE8338A7}"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FEEA3BD-D73C-40FA-B949-86F82F52F58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B36F015E-F0D9-4D15-AB37-86219B06369E}"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B659E5A6-07BE-4144-BED2-258D492483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490A730D-D000-450F-96DC-7F2A2FF359F4}"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33B83D4F-019A-4086-AD20-F048E2E70EF6}"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A2D086E4-4E9E-42E5-BF72-3D4959E020FB}"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F12FAD88-6B41-49DB-ABF7-7A031CA4535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B4320B4-2E05-4C33-9519-FAB1D122D30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A749DFC8-C847-49E3-BBB6-C7B871DBC536}"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7CD27686-0F54-4B47-8854-6DCE51C8D28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A16A14CE-5E0D-4ACC-972B-D2E6E8DDA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CF569356-29FE-4914-97C6-A89697BE1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40DFDA03-EA56-4171-A9CE-ABC545284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8D6E9467-495A-463F-8F77-FA7114AD2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2A0188F-80AD-4178-9BAC-DBE6D7AFC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2889B6A4-D981-4339-955A-9D0BC351A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09A3F02E-4C3B-41F5-8CAB-DCB3D02FE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A14628EE-9B23-41E1-9C3D-118E4FF4B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C544666D-979A-4968-88E7-0C113903B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F376DA3B-51FC-433D-A33E-C781E09AD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F704E24A-0160-4624-AA6E-00A058E5F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957DEF61-BAC0-4A8D-AAAA-BCDF16A04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F388A443-145A-40E3-AB9B-F87BCF62C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D7D4615F-C9C0-41D9-8FE8-2B1EFBD17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9BFDDB02-BBA2-456B-9AA3-D8DC12CAA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2B358CA6-3FDF-4AAA-89A3-F7E93E7BC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EED1A28D-6621-4180-AE9A-83E2FAD00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66B08D0F-5CC3-4B8D-A0E9-45BD3960D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5C4161BC-FF01-4EB2-8682-1D7DE4A54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1E5174F3-6A28-4853-90C9-844AFBE65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22020F16-438E-4AF4-B03E-A538446AC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DED423E3-9397-4297-9B72-34301D191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83C9F4A0-6912-484C-824B-CEBF3D8DA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593E51CF-EDAB-4B63-B1B0-1BF945ACC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50574019-13E4-4251-AC0C-021E2855A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D35AA68B-F1F5-4180-A8BA-21ADA4F27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792043B1-2EE2-447B-AF5C-4AF8E80BB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55A86DDE-D4B2-4D56-90AC-D33F499D7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9F97B1DB-383C-41C3-8D52-D6A46E044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C46C9C3-838E-4089-B170-3A9241920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CE14FCC0-F8C5-4335-B25B-D86FCAEC0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725A69DC-65D4-4D22-9439-2E51E24488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4F2EF9AF-C243-49DE-8F3E-1367A96B1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65153B25-E75C-4E58-AADF-E724ECC55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FDEF0664-F3E8-4FBF-BDDE-FA6499734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7E6EED2F-880D-406D-A95A-CF88ABFC9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331F8796-E312-4F24-9AFD-4EE63F515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7B80670A-B997-429C-BAD0-F1B43033E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C9EDE71E-964A-4BF6-9BFA-8DFBDC60A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54E4143B-B794-4353-BFD7-B0DA0AFC9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AF91FF72-B7DF-4A9D-B1A8-1CDEA0ABA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1B4A2EA8-AAC0-4B53-B3FE-5F9D26407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AC6F2D2B-8141-4A25-9F70-66078C17C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D04AA82A-E4F0-4F27-8DE3-BA550D90B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CBFC21E-D357-4E59-85E2-12D137B51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5C42CEE5-43DB-4F29-A7AF-7AB93BEAE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02BFF708-1700-4D3E-801F-97089D02F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967B6CF1-5DB1-412A-8736-88E7629EA1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210342D3-733B-485E-A66D-F1DD79CF3C8D}" type="CELLRANGE">
                      <a:rPr lang="en-CH"/>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587D1350-B254-4B52-8356-6B9249C705AB}"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43D4FA1C-6C7B-4324-85F9-1215E0C68B99}"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2C3E80BC-FED1-4EE5-9361-334FDCD67B5E}"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8C295D97-1A07-491E-A6E1-805835A81C77}"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B48733F1-53AB-45FC-ACFD-08DF098B3F38}"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733F39D0-9064-43AB-B6D9-1CC3CC006B68}"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2B98B759-0E2D-439A-8EA5-40D88BC773AF}"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FF4903E3-15A9-4AB3-ACE4-2C745983D2BA}"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DDBC07D8-7B8F-4F02-9BD3-2A3F28FEFC92}"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6E3662D6-E943-4752-A622-94541DC2D246}"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2862AAE-D3D7-4FFC-98C5-1A2EE7BC576D}"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439BE5C9-F3C2-4BDC-9621-BEA3652A115C}"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1B39EC3C-DE11-4BB8-8051-88ED40960B76}"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8C082285-069D-4891-9150-438F363E5600}"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8DAAE62-BEF2-449A-B2E9-457C92C3D489}"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025408FF-F546-41C1-AFFE-9960A16474D9}"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BBA65FF4-578D-4A55-906D-0BB9ACFC4090}"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3E21A6D7-4478-44DC-9BBE-5946CE2E330E}"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96800B65-6C5E-44F4-933B-4FED201D0598}"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298B96F3-D60E-49AE-8970-196D2AD7B26A}"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1C926AF6-A390-48B6-A84C-B7BE1253785E}"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057F42ED-5DC6-4020-B948-6053A7EDE628}"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DE41403E-06F7-446D-8BE1-9D510719729B}"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B7C375EE-6B68-4B80-94F3-80EA82284F69}"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506094C9-84C7-47E0-9590-6194111D433C}"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1C621824-CB7B-4988-BA29-3F39C52B0E07}"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EB965989-0F2A-45F4-A7C4-46F3A20B6034}"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0FD824ED-84B2-4D0A-AD3F-667DF1D695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B4C31B0-ECC5-4236-9DDE-7E577D45CEB6}"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C3A90554-5D55-44D2-B8F3-F7E426466D8A}"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0AE3FB12-B051-4490-8361-118D8D9C007C}"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GB"/>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CE9CF5FF-A899-45E7-8846-A5EC585403BB}" type="CELLRANGE">
                      <a:rPr lang="en-GB"/>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D220506-0D1A-4A78-9302-76A1F9F95F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F96458C9-41A9-42B0-99E0-84D6CCD344AE}" type="CELLRANGE">
                      <a:rPr lang="en-CH"/>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7DE079EE-0B8C-4D2E-8F32-7D7B804445F4}"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484D21F8-3CD5-49E0-9694-068504E0A0AB}"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88B299A9-AE2D-4EB6-8112-83632EE4A266}"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33AB282E-61A8-4691-B550-4BBBF5695720}"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2D6F7034-2C56-4C28-90EF-AB01DF34907F}"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4418C6C0-978E-49E6-9E5B-D4020F9B8E6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47313C50-3DB7-4662-A67F-66A521299E6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B01A8610-2FF8-439B-956E-FE5776CCF26F}"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5518CDB9-AE72-45F1-AA15-DBE04AD33E2F}"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64B28E80-F4A4-4DDC-B62B-801F14173778}"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5E2C077C-3562-4CBE-ADBB-DF6F308DED0D}"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D3A73A13-E978-43BA-9925-B5830CDF862A}"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F046385A-F67C-403D-A55C-F7A1C8692404}"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898AD404-13A2-4EE7-A4DF-21C8DCBA4D20}"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E12256F6-1B12-4979-A9B8-3F2B04A74CC8}"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351D5961-BB92-48BF-B897-4A0EB73E4BFD}"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F8928565-E0ED-4511-BF4F-72499E1E72B5}"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90BBF131-B1D5-4291-B72B-DDE6B9582F5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AC04368F-FDF9-4859-97A2-74E557C3749B}"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E27615CC-3775-4C90-AC6F-A96CF03130AA}"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4203F1CF-697B-4879-960A-563DB1CF83E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FB69F2FE-79FA-49FF-8ADD-B1C902498870}"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F2CEBD0E-D19A-4871-8951-33C10C40502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CD8B673B-EB43-4062-8D39-55B036C12315}"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2DF5179D-A340-4291-BD42-70AF5E8995B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147B93EA-D59E-4006-B3ED-ED5CAB515C99}"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CD841F4F-7490-43AC-AB95-4E7966EDF11A}"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44E13A10-8C26-4B81-8267-8F1351682E6A}"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59BBC634-149A-4B91-9D40-DE166C05C39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01F72393-4359-4E94-8D9D-E2F7759B4BC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A3A68A9F-7C28-4BB6-9988-0EE528E6D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CF519479-0718-4C4D-86A5-C75B30E10662}" type="CELLRANGE">
                      <a:rPr lang="en-CH"/>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B7BBF3C6-5B5B-4C75-A1C8-2F3B20F09CB9}"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F49CE29C-F565-4FC7-9E4A-C2941F979CAC}"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C9F0C1E0-A220-4735-A7AF-9712B5E20736}"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C8008ADF-04ED-4F94-8412-37CB767655DA}"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F7DBECB4-4068-4901-8742-D2B83582275C}"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4F5863F1-F452-48B8-A060-789C82D7EF82}"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416AC08D-FAC8-4FCF-AF58-FFB8A0DEC322}"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78844ABC-5426-4CF5-ADF9-44BE1E6D48F3}"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5D9C83A4-450E-4131-9BDD-6B5AED85373C}"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3C05FE32-D35F-4741-B6A7-C0F4CBF346E6}"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742CE6DE-496A-42CF-8CCF-0F9625C7EEA4}"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6D08F3D4-AD5D-472A-8633-4D1618662E21}"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A43A7AB3-8C1D-4B67-812E-0C22A07EBBD1}"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451705F-B308-4927-A31D-616AA1F067F1}"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892F677D-BB0F-4BED-A5B0-2D8057933A0C}"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70807DFE-5D84-44ED-9319-426595F4C8F7}"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C29FB267-608B-41E7-886D-65D004175BDA}"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A76AEF-3AC9-4B3F-9846-0E7357A891D1}"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9B489DAD-0ACA-4932-92C1-AC8D58BCA4AA}"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870F457C-7221-4C16-A57B-567A4961A00D}"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4B5F03B3-5D2F-449D-93E7-1183EA01ADED}"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CD1FC1B9-AD60-4D91-931A-57B5080867C8}"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6EF3C76A-FAA2-46C3-9A3D-DA328518DD69}"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51131A4B-C842-4D4F-82C3-F39820AD218D}"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FBE9AE77-D310-4EA4-95E7-D7C69262D908}"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D7EDE5E1-D450-44B4-8E77-686BF1AE3A7E}"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0DBD5D97-89E1-4E78-B56B-121499681A2B}"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B632A5D8-30E0-4604-8814-4FE05C856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410B32FA-AFE1-4D67-8D67-49EF3B45C8DB}"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4E706987-C460-41D2-8DED-8B35A54A9224}"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4EB06B61-83B5-4B3B-AB21-058FE0E08623}"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GB"/>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39A832D8-2D3D-472E-8ABC-B7CDFF9F397B}" type="CELLRANGE">
                      <a:rPr lang="en-GB"/>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1A92717-376E-4221-98DC-42C150169B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A224B0FF-0E7D-40CA-A332-1C64767BF0D3}" type="CELLRANGE">
                      <a:rPr lang="en-CH"/>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F51B5490-6D54-42BE-93C8-376D7F0AAFD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2B8BBE49-07DF-4360-922C-7ECC0049C3BC}"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6F3307B5-BEE7-4617-8B62-0E779A8777F0}"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3EDE018D-CE03-43B1-BB78-E4D1057C4FB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830369BB-5DF2-406F-A15C-7F447F6DCF76}"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913F24A2-9D3B-4494-AF18-88C961757092}"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9994D60E-AC27-4AC3-A309-3BE3BBA06FC2}"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8A1B3278-A4A4-4604-B374-3DC560E503C4}"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9DFFA81F-6D53-4034-A06E-165D899D71ED}"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E6BC2E8-7949-4507-A09E-30D00DFF4475}"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46895D61-2C13-439B-B38F-4709B5A64D15}"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BD19C206-FC9B-4DA5-90EE-4937A6016D54}"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15CC88DE-2172-438E-B7C0-E344C607CE59}"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AE4A93A9-FF5F-4D5A-84A4-090FBD3C64E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6BAB147A-5877-4E8E-A7B2-16FFD1981FA7}"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BEBFDADD-0D99-4987-A4FC-66402988A77B}"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A09EBFA7-5593-42CE-91F6-31E42625F760}"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17699F04-0656-4848-9E7A-0B8BB82451A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27424BD0-4DA7-4C65-A593-C04EEB0E6A6B}"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8075CF5A-1023-4BA9-B15B-88168206F438}"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365C5D7F-52D0-4549-8E2B-283679164173}"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A184DF65-51E1-4CA3-A42D-46FD7EE7F950}"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403B9335-C876-419A-B24E-FD79EA973B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2063599D-6619-4888-B5DD-2EF72322BA85}"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D7271B72-6EE4-4FCD-B219-2F1F607E6438}"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7B21CAC-1E86-4280-937E-8E71DDE5739F}"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37BB65E0-D7DA-4C4E-9C6C-B8A0F5EB5CC5}"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1CC2700F-1BC2-4726-82A8-7AECF4AF6AA1}"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EC99111A-55F6-4905-9212-1B59F5432A8A}"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405CA8C7-1B21-4BF6-9F43-F97AE5DE49D9}" type="CELLRANGE">
                      <a:rPr lang="en-GB"/>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3</c:f>
              <c:strCache>
                <c:ptCount val="6"/>
                <c:pt idx="0">
                  <c:v>Grand Total</c:v>
                </c:pt>
                <c:pt idx="1">
                  <c:v>PETFL-EW DPG EP</c:v>
                </c:pt>
                <c:pt idx="2">
                  <c:v>PETFL-EW DPG KW</c:v>
                </c:pt>
                <c:pt idx="3">
                  <c:v>PETFL-MW</c:v>
                </c:pt>
                <c:pt idx="4">
                  <c:v>BRFL</c:v>
                </c:pt>
                <c:pt idx="5">
                  <c:v>FL</c:v>
                </c:pt>
              </c:strCache>
            </c:strRef>
          </c:cat>
          <c:val>
            <c:numRef>
              <c:f>Sheet1!$B$2:$B$13</c:f>
              <c:numCache>
                <c:formatCode>General</c:formatCode>
                <c:ptCount val="12"/>
                <c:pt idx="0">
                  <c:v>0.122076</c:v>
                </c:pt>
                <c:pt idx="1">
                  <c:v>8.6438000000000001E-2</c:v>
                </c:pt>
                <c:pt idx="2">
                  <c:v>0.16711699999999999</c:v>
                </c:pt>
                <c:pt idx="3">
                  <c:v>0.216805</c:v>
                </c:pt>
                <c:pt idx="4">
                  <c:v>6.0905000000000001E-2</c:v>
                </c:pt>
                <c:pt idx="5">
                  <c:v>0.14979999999999999</c:v>
                </c:pt>
                <c:pt idx="6">
                  <c:v>0.14000000000000001</c:v>
                </c:pt>
                <c:pt idx="7">
                  <c:v>0.122076</c:v>
                </c:pt>
                <c:pt idx="8">
                  <c:v>8.6438000000000001E-2</c:v>
                </c:pt>
                <c:pt idx="9">
                  <c:v>0.16711699999999999</c:v>
                </c:pt>
                <c:pt idx="10">
                  <c:v>0.216805</c:v>
                </c:pt>
                <c:pt idx="11">
                  <c:v>6.0905000000000001E-2</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3</c:f>
              <c:strCache>
                <c:ptCount val="6"/>
                <c:pt idx="0">
                  <c:v>Grand Total</c:v>
                </c:pt>
                <c:pt idx="1">
                  <c:v>PETFL-EW DPG EP</c:v>
                </c:pt>
                <c:pt idx="2">
                  <c:v>PETFL-EW DPG KW</c:v>
                </c:pt>
                <c:pt idx="3">
                  <c:v>PETFL-MW</c:v>
                </c:pt>
                <c:pt idx="4">
                  <c:v>BRFL</c:v>
                </c:pt>
                <c:pt idx="5">
                  <c:v>FL</c:v>
                </c:pt>
              </c:strCache>
            </c:strRef>
          </c:cat>
          <c:val>
            <c:numRef>
              <c:f>Sheet1!$C$2:$C$13</c:f>
              <c:numCache>
                <c:formatCode>General</c:formatCode>
                <c:ptCount val="12"/>
                <c:pt idx="0">
                  <c:v>0.87792400000000004</c:v>
                </c:pt>
                <c:pt idx="1">
                  <c:v>0.91356199999999999</c:v>
                </c:pt>
                <c:pt idx="2">
                  <c:v>0.83288300000000004</c:v>
                </c:pt>
                <c:pt idx="3">
                  <c:v>0.78319499999999997</c:v>
                </c:pt>
                <c:pt idx="4">
                  <c:v>0.93909500000000001</c:v>
                </c:pt>
                <c:pt idx="5">
                  <c:v>0.85019999999999996</c:v>
                </c:pt>
                <c:pt idx="6">
                  <c:v>0.86</c:v>
                </c:pt>
                <c:pt idx="7">
                  <c:v>0.87792400000000004</c:v>
                </c:pt>
                <c:pt idx="8">
                  <c:v>0.91356199999999999</c:v>
                </c:pt>
                <c:pt idx="9">
                  <c:v>0.83288300000000004</c:v>
                </c:pt>
                <c:pt idx="10">
                  <c:v>0.78319499999999997</c:v>
                </c:pt>
                <c:pt idx="11">
                  <c:v>0.93909500000000001</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3</c:f>
              <c:strCache>
                <c:ptCount val="6"/>
                <c:pt idx="0">
                  <c:v>Grand Total</c:v>
                </c:pt>
                <c:pt idx="1">
                  <c:v>PETFL-EW DPG EP</c:v>
                </c:pt>
                <c:pt idx="2">
                  <c:v>PETFL-EW DPG KW</c:v>
                </c:pt>
                <c:pt idx="3">
                  <c:v>PETFL-MW</c:v>
                </c:pt>
                <c:pt idx="4">
                  <c:v>BRFL</c:v>
                </c:pt>
                <c:pt idx="5">
                  <c:v>FL</c:v>
                </c:pt>
              </c:strCache>
            </c:strRef>
          </c:cat>
          <c:val>
            <c:numRef>
              <c:f>Sheet1!$B$2:$B$13</c:f>
              <c:numCache>
                <c:formatCode>General</c:formatCode>
                <c:ptCount val="12"/>
                <c:pt idx="0">
                  <c:v>0.122076</c:v>
                </c:pt>
                <c:pt idx="1">
                  <c:v>8.6438000000000001E-2</c:v>
                </c:pt>
                <c:pt idx="2">
                  <c:v>0.16711699999999999</c:v>
                </c:pt>
                <c:pt idx="3">
                  <c:v>0.216805</c:v>
                </c:pt>
                <c:pt idx="4">
                  <c:v>6.0905000000000001E-2</c:v>
                </c:pt>
                <c:pt idx="5">
                  <c:v>0.14979999999999999</c:v>
                </c:pt>
                <c:pt idx="6">
                  <c:v>0.14000000000000001</c:v>
                </c:pt>
                <c:pt idx="7">
                  <c:v>0.122076</c:v>
                </c:pt>
                <c:pt idx="8">
                  <c:v>8.6438000000000001E-2</c:v>
                </c:pt>
                <c:pt idx="9">
                  <c:v>0.16711699999999999</c:v>
                </c:pt>
                <c:pt idx="10">
                  <c:v>0.216805</c:v>
                </c:pt>
                <c:pt idx="11">
                  <c:v>6.0905000000000001E-2</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13</c:f>
              <c:strCache>
                <c:ptCount val="6"/>
                <c:pt idx="0">
                  <c:v>Grand Total</c:v>
                </c:pt>
                <c:pt idx="1">
                  <c:v>PETFL-EW DPG EP</c:v>
                </c:pt>
                <c:pt idx="2">
                  <c:v>PETFL-EW DPG KW</c:v>
                </c:pt>
                <c:pt idx="3">
                  <c:v>PETFL-MW</c:v>
                </c:pt>
                <c:pt idx="4">
                  <c:v>BRFL</c:v>
                </c:pt>
                <c:pt idx="5">
                  <c:v>FL</c:v>
                </c:pt>
              </c:strCache>
            </c:strRef>
          </c:cat>
          <c:val>
            <c:numRef>
              <c:f>Sheet1!$C$2:$C$13</c:f>
              <c:numCache>
                <c:formatCode>General</c:formatCode>
                <c:ptCount val="12"/>
                <c:pt idx="0">
                  <c:v>0.87792400000000004</c:v>
                </c:pt>
                <c:pt idx="1">
                  <c:v>0.91356199999999999</c:v>
                </c:pt>
                <c:pt idx="2">
                  <c:v>0.83288300000000004</c:v>
                </c:pt>
                <c:pt idx="3">
                  <c:v>0.78319499999999997</c:v>
                </c:pt>
                <c:pt idx="4">
                  <c:v>0.93909500000000001</c:v>
                </c:pt>
                <c:pt idx="5">
                  <c:v>0.85019999999999996</c:v>
                </c:pt>
                <c:pt idx="6">
                  <c:v>0.86</c:v>
                </c:pt>
                <c:pt idx="7">
                  <c:v>0.87792400000000004</c:v>
                </c:pt>
                <c:pt idx="8">
                  <c:v>0.91356199999999999</c:v>
                </c:pt>
                <c:pt idx="9">
                  <c:v>0.83288300000000004</c:v>
                </c:pt>
                <c:pt idx="10">
                  <c:v>0.78319499999999997</c:v>
                </c:pt>
                <c:pt idx="11">
                  <c:v>0.93909500000000001</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2/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BB97D-25DE-D7EC-8FB9-FBF4D21FC1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1C9335-9D72-C5D9-B738-EEFE5273FB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C2B80-AF3A-E4BA-F4B9-9CB294560CDB}"/>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1869EE83-6212-B7DB-50AC-BC6D2356A462}"/>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966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2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2/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2/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2/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2/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2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2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22/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4.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6.x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30.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oleObject" Target="../embeddings/oleObject30.bin"/><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31.emf"/><Relationship Id="rId9" Type="http://schemas.openxmlformats.org/officeDocument/2006/relationships/chart" Target="../charts/chart40.xml"/></Relationships>
</file>

<file path=ppt/slides/_rels/slide2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chart" Target="../charts/chart41.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2.xml"/><Relationship Id="rId5" Type="http://schemas.openxmlformats.org/officeDocument/2006/relationships/image" Target="../media/image31.emf"/><Relationship Id="rId10" Type="http://schemas.openxmlformats.org/officeDocument/2006/relationships/chart" Target="../charts/chart46.xml"/><Relationship Id="rId4" Type="http://schemas.openxmlformats.org/officeDocument/2006/relationships/oleObject" Target="../embeddings/oleObject30.bin"/><Relationship Id="rId9"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4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notesSlide" Target="../notesSlides/notesSlide10.xml"/><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1.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3.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5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9/22/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137946498"/>
              </p:ext>
            </p:extLst>
          </p:nvPr>
        </p:nvGraphicFramePr>
        <p:xfrm>
          <a:off x="496832" y="1140421"/>
          <a:ext cx="8147060" cy="3591917"/>
        </p:xfrm>
        <a:graphic>
          <a:graphicData uri="http://schemas.openxmlformats.org/drawingml/2006/table">
            <a:tbl>
              <a:tblPr firstRow="1" bandRow="1">
                <a:tableStyleId>{5C22544A-7EE6-4342-B048-85BDC9FD1C3A}</a:tableStyleId>
              </a:tblPr>
              <a:tblGrid>
                <a:gridCol w="1629412">
                  <a:extLst>
                    <a:ext uri="{9D8B030D-6E8A-4147-A177-3AD203B41FA5}">
                      <a16:colId xmlns:a16="http://schemas.microsoft.com/office/drawing/2014/main" val="654108321"/>
                    </a:ext>
                  </a:extLst>
                </a:gridCol>
                <a:gridCol w="1629412">
                  <a:extLst>
                    <a:ext uri="{9D8B030D-6E8A-4147-A177-3AD203B41FA5}">
                      <a16:colId xmlns:a16="http://schemas.microsoft.com/office/drawing/2014/main" val="2577239026"/>
                    </a:ext>
                  </a:extLst>
                </a:gridCol>
                <a:gridCol w="1629412">
                  <a:extLst>
                    <a:ext uri="{9D8B030D-6E8A-4147-A177-3AD203B41FA5}">
                      <a16:colId xmlns:a16="http://schemas.microsoft.com/office/drawing/2014/main" val="1241509968"/>
                    </a:ext>
                  </a:extLst>
                </a:gridCol>
                <a:gridCol w="1629412">
                  <a:extLst>
                    <a:ext uri="{9D8B030D-6E8A-4147-A177-3AD203B41FA5}">
                      <a16:colId xmlns:a16="http://schemas.microsoft.com/office/drawing/2014/main" val="857200868"/>
                    </a:ext>
                  </a:extLst>
                </a:gridCol>
                <a:gridCol w="1629412">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3792627937"/>
              </p:ext>
            </p:extLst>
          </p:nvPr>
        </p:nvGraphicFramePr>
        <p:xfrm>
          <a:off x="5385787" y="1487345"/>
          <a:ext cx="1612924" cy="32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3225666939"/>
              </p:ext>
            </p:extLst>
          </p:nvPr>
        </p:nvGraphicFramePr>
        <p:xfrm>
          <a:off x="7014031" y="1487345"/>
          <a:ext cx="1612924" cy="324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347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9/22/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9838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9/22/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r>
              <a:rPr lang="en-GB" dirty="0"/>
              <a:t>consumption if total size &gt; threshold</a:t>
            </a:r>
            <a:endParaRPr lang="en-US" dirty="0"/>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7321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035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870992-F0EF-B48B-C512-CAB0263607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0870992-F0EF-B48B-C512-CAB0263607E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ECE2348F-4A5E-4377-BC6E-44DA80E64CED}" type="datetime1">
              <a:rPr lang="en-US" noProof="0" smtClean="0"/>
              <a:pPr lvl="0"/>
              <a:t>9/22/2025</a:t>
            </a:fld>
            <a:endParaRPr lang="en-US" noProof="0"/>
          </a:p>
        </p:txBody>
      </p:sp>
      <p:sp>
        <p:nvSpPr>
          <p:cNvPr id="9" name="Footer Placeholder 8">
            <a:extLst>
              <a:ext uri="{FF2B5EF4-FFF2-40B4-BE49-F238E27FC236}">
                <a16:creationId xmlns:a16="http://schemas.microsoft.com/office/drawing/2014/main" id="{4DCD2A08-01E5-6C57-C2F4-7845774327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E87B52AC-8018-1DEA-CAEA-DD623D44C3F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dirty="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dirty="0"/>
              <a:t>Feature</a:t>
            </a:r>
            <a:r>
              <a:rPr lang="en-AE" dirty="0"/>
              <a:t> </a:t>
            </a:r>
            <a:r>
              <a:rPr lang="en-US" dirty="0"/>
              <a:t>Share vs. Fair Share </a:t>
            </a:r>
            <a:r>
              <a:rPr lang="en-US"/>
              <a:t>| Retailer </a:t>
            </a:r>
            <a:r>
              <a:rPr lang="en-AE" dirty="0"/>
              <a:t>| </a:t>
            </a:r>
            <a:r>
              <a:rPr lang="en-US" dirty="0"/>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Feature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36849936"/>
              </p:ext>
            </p:extLst>
          </p:nvPr>
        </p:nvGraphicFramePr>
        <p:xfrm>
          <a:off x="537483" y="1137274"/>
          <a:ext cx="8096662" cy="3595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40521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1BD8230-08F6-6B04-600B-F5771ED4BCB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41BD8230-08F6-6B04-600B-F5771ED4BCB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30F8263A-2178-A954-F534-006365993B28}"/>
              </a:ext>
            </a:extLst>
          </p:cNvPr>
          <p:cNvSpPr>
            <a:spLocks noGrp="1"/>
          </p:cNvSpPr>
          <p:nvPr>
            <p:ph type="dt" sz="half" idx="14"/>
          </p:nvPr>
        </p:nvSpPr>
        <p:spPr>
          <a:xfrm>
            <a:off x="8082390" y="4972050"/>
            <a:ext cx="557609" cy="171450"/>
          </a:xfrm>
        </p:spPr>
        <p:txBody>
          <a:bodyPr/>
          <a:lstStyle/>
          <a:p>
            <a:pPr lvl="0"/>
            <a:fld id="{4AF59A4A-DBA3-4B15-9761-DDCAB7C5C67C}" type="datetime1">
              <a:rPr lang="en-US" noProof="0" smtClean="0"/>
              <a:pPr lvl="0"/>
              <a:t>9/22/2025</a:t>
            </a:fld>
            <a:endParaRPr lang="en-US" noProof="0"/>
          </a:p>
        </p:txBody>
      </p:sp>
      <p:sp>
        <p:nvSpPr>
          <p:cNvPr id="9" name="Footer Placeholder 8">
            <a:extLst>
              <a:ext uri="{FF2B5EF4-FFF2-40B4-BE49-F238E27FC236}">
                <a16:creationId xmlns:a16="http://schemas.microsoft.com/office/drawing/2014/main" id="{577D2D85-84DF-541E-528E-A6A57B5D4C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C09D557A-3BE9-D9F6-C3E6-D81AC7A58AB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pPr lvl="0"/>
            <a:r>
              <a:rPr lang="da-DK" noProof="0"/>
              <a:t>Data Source | Nielsen | Ending Mar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Display</a:t>
            </a:r>
            <a:r>
              <a:rPr lang="en-AE"/>
              <a:t> </a:t>
            </a:r>
            <a:r>
              <a:rPr lang="en-US"/>
              <a:t>Share vs. Fair Share | Retailer </a:t>
            </a:r>
            <a:r>
              <a:rPr lang="en-AE"/>
              <a:t>| </a:t>
            </a:r>
            <a:r>
              <a:rPr lang="en-US"/>
              <a:t>P12M</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Display Share vs. Fair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6"/>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49"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600" b="0" i="0" u="none" strike="noStrike" kern="1200" cap="none" spc="0" normalizeH="0" baseline="0" noProof="0">
              <a:ln>
                <a:noFill/>
              </a:ln>
              <a:solidFill>
                <a:srgbClr val="00A097"/>
              </a:solidFill>
              <a:effectLst/>
              <a:uLnTx/>
              <a:uFillTx/>
              <a:latin typeface="Raleway" panose="020B0503030101060003"/>
              <a:ea typeface="+mn-ea"/>
              <a:cs typeface="+mn-cs"/>
            </a:endParaRPr>
          </a:p>
        </p:txBody>
      </p:sp>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222046809"/>
              </p:ext>
            </p:extLst>
          </p:nvPr>
        </p:nvGraphicFramePr>
        <p:xfrm>
          <a:off x="540726" y="1137272"/>
          <a:ext cx="8096662" cy="35968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00720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9/22/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7683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2/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888019475"/>
              </p:ext>
            </p:extLst>
          </p:nvPr>
        </p:nvGraphicFramePr>
        <p:xfrm>
          <a:off x="539750" y="1131888"/>
          <a:ext cx="216000" cy="3099737"/>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3099737">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2145400579"/>
              </p:ext>
            </p:extLst>
          </p:nvPr>
        </p:nvGraphicFramePr>
        <p:xfrm>
          <a:off x="797668" y="1123942"/>
          <a:ext cx="7843095" cy="36083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7437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2/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64579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2/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1950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9/22/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7345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9/22/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521769650"/>
              </p:ext>
            </p:extLst>
          </p:nvPr>
        </p:nvGraphicFramePr>
        <p:xfrm>
          <a:off x="541080" y="1133761"/>
          <a:ext cx="8094115" cy="3649250"/>
        </p:xfrm>
        <a:graphic>
          <a:graphicData uri="http://schemas.openxmlformats.org/drawingml/2006/table">
            <a:tbl>
              <a:tblPr firstRow="1" bandRow="1">
                <a:tableStyleId>{5C22544A-7EE6-4342-B048-85BDC9FD1C3A}</a:tableStyleId>
              </a:tblPr>
              <a:tblGrid>
                <a:gridCol w="825931">
                  <a:extLst>
                    <a:ext uri="{9D8B030D-6E8A-4147-A177-3AD203B41FA5}">
                      <a16:colId xmlns:a16="http://schemas.microsoft.com/office/drawing/2014/main" val="2374043349"/>
                    </a:ext>
                  </a:extLst>
                </a:gridCol>
                <a:gridCol w="660744">
                  <a:extLst>
                    <a:ext uri="{9D8B030D-6E8A-4147-A177-3AD203B41FA5}">
                      <a16:colId xmlns:a16="http://schemas.microsoft.com/office/drawing/2014/main" val="8673104"/>
                    </a:ext>
                  </a:extLst>
                </a:gridCol>
                <a:gridCol w="660744">
                  <a:extLst>
                    <a:ext uri="{9D8B030D-6E8A-4147-A177-3AD203B41FA5}">
                      <a16:colId xmlns:a16="http://schemas.microsoft.com/office/drawing/2014/main" val="1028273140"/>
                    </a:ext>
                  </a:extLst>
                </a:gridCol>
                <a:gridCol w="660744">
                  <a:extLst>
                    <a:ext uri="{9D8B030D-6E8A-4147-A177-3AD203B41FA5}">
                      <a16:colId xmlns:a16="http://schemas.microsoft.com/office/drawing/2014/main" val="2342841255"/>
                    </a:ext>
                  </a:extLst>
                </a:gridCol>
                <a:gridCol w="660744">
                  <a:extLst>
                    <a:ext uri="{9D8B030D-6E8A-4147-A177-3AD203B41FA5}">
                      <a16:colId xmlns:a16="http://schemas.microsoft.com/office/drawing/2014/main" val="1336055313"/>
                    </a:ext>
                  </a:extLst>
                </a:gridCol>
                <a:gridCol w="660744">
                  <a:extLst>
                    <a:ext uri="{9D8B030D-6E8A-4147-A177-3AD203B41FA5}">
                      <a16:colId xmlns:a16="http://schemas.microsoft.com/office/drawing/2014/main" val="481471067"/>
                    </a:ext>
                  </a:extLst>
                </a:gridCol>
                <a:gridCol w="660744">
                  <a:extLst>
                    <a:ext uri="{9D8B030D-6E8A-4147-A177-3AD203B41FA5}">
                      <a16:colId xmlns:a16="http://schemas.microsoft.com/office/drawing/2014/main" val="2826483607"/>
                    </a:ext>
                  </a:extLst>
                </a:gridCol>
                <a:gridCol w="660744">
                  <a:extLst>
                    <a:ext uri="{9D8B030D-6E8A-4147-A177-3AD203B41FA5}">
                      <a16:colId xmlns:a16="http://schemas.microsoft.com/office/drawing/2014/main" val="2835272942"/>
                    </a:ext>
                  </a:extLst>
                </a:gridCol>
                <a:gridCol w="660744">
                  <a:extLst>
                    <a:ext uri="{9D8B030D-6E8A-4147-A177-3AD203B41FA5}">
                      <a16:colId xmlns:a16="http://schemas.microsoft.com/office/drawing/2014/main" val="1800396781"/>
                    </a:ext>
                  </a:extLst>
                </a:gridCol>
                <a:gridCol w="660744">
                  <a:extLst>
                    <a:ext uri="{9D8B030D-6E8A-4147-A177-3AD203B41FA5}">
                      <a16:colId xmlns:a16="http://schemas.microsoft.com/office/drawing/2014/main" val="1362482283"/>
                    </a:ext>
                  </a:extLst>
                </a:gridCol>
                <a:gridCol w="660744">
                  <a:extLst>
                    <a:ext uri="{9D8B030D-6E8A-4147-A177-3AD203B41FA5}">
                      <a16:colId xmlns:a16="http://schemas.microsoft.com/office/drawing/2014/main" val="2173997044"/>
                    </a:ext>
                  </a:extLst>
                </a:gridCol>
                <a:gridCol w="660744">
                  <a:extLst>
                    <a:ext uri="{9D8B030D-6E8A-4147-A177-3AD203B41FA5}">
                      <a16:colId xmlns:a16="http://schemas.microsoft.com/office/drawing/2014/main" val="185024850"/>
                    </a:ext>
                  </a:extLst>
                </a:gridCol>
              </a:tblGrid>
              <a:tr h="350435">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dirty="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6535">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66535">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66535">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66535">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66535">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66535">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66535">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66535">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66535">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735736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9/22/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0760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35764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793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AF88-84F4-2869-DECA-6EE31CA33F0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4C8AD0F-9180-3EAB-01FE-653B32642F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32914CD-B2C7-F3EB-98CC-C16BD3795F4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E2E8F52B-FAE2-3582-90CF-32EC79D3A27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C4E2ED9-2DD2-0F1D-6A5E-8DFBE65B9B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15" name="Data Source">
            <a:extLst>
              <a:ext uri="{FF2B5EF4-FFF2-40B4-BE49-F238E27FC236}">
                <a16:creationId xmlns:a16="http://schemas.microsoft.com/office/drawing/2014/main" id="{2892DBE4-D9CE-54D1-8585-D34CF596078B}"/>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1DE27DA8-5DB0-BC4B-9F42-DEC01F942BDA}"/>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60F5EE99-9B67-4A7C-5AC0-9C69771267AC}"/>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44E7D6A7-2517-1924-D21E-A75D83E57D55}"/>
              </a:ext>
            </a:extLst>
          </p:cNvPr>
          <p:cNvGraphicFramePr>
            <a:graphicFrameLocks noGrp="1"/>
          </p:cNvGraphicFramePr>
          <p:nvPr>
            <p:extLst>
              <p:ext uri="{D42A27DB-BD31-4B8C-83A1-F6EECF244321}">
                <p14:modId xmlns:p14="http://schemas.microsoft.com/office/powerpoint/2010/main" val="44401082"/>
              </p:ext>
            </p:extLst>
          </p:nvPr>
        </p:nvGraphicFramePr>
        <p:xfrm>
          <a:off x="543331" y="1131888"/>
          <a:ext cx="303523" cy="3237612"/>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079204">
                <a:tc>
                  <a:txBody>
                    <a:bodyPr/>
                    <a:lstStyle/>
                    <a:p>
                      <a:pPr algn="ctr" fontAlgn="b"/>
                      <a:r>
                        <a:rPr lang="en-US" sz="800" b="0" kern="1200" dirty="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1079204">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079204">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8" name="C2">
            <a:extLst>
              <a:ext uri="{FF2B5EF4-FFF2-40B4-BE49-F238E27FC236}">
                <a16:creationId xmlns:a16="http://schemas.microsoft.com/office/drawing/2014/main" id="{71E6DCF7-1A98-55BE-A118-CCB61BFA1677}"/>
              </a:ext>
            </a:extLst>
          </p:cNvPr>
          <p:cNvGraphicFramePr>
            <a:graphicFrameLocks/>
          </p:cNvGraphicFramePr>
          <p:nvPr>
            <p:extLst>
              <p:ext uri="{D42A27DB-BD31-4B8C-83A1-F6EECF244321}">
                <p14:modId xmlns:p14="http://schemas.microsoft.com/office/powerpoint/2010/main" val="3203492051"/>
              </p:ext>
            </p:extLst>
          </p:nvPr>
        </p:nvGraphicFramePr>
        <p:xfrm>
          <a:off x="907981" y="1190100"/>
          <a:ext cx="7740000" cy="9801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2">
            <a:extLst>
              <a:ext uri="{FF2B5EF4-FFF2-40B4-BE49-F238E27FC236}">
                <a16:creationId xmlns:a16="http://schemas.microsoft.com/office/drawing/2014/main" id="{911CF36C-1A7B-4AFC-C29D-445ACA239949}"/>
              </a:ext>
            </a:extLst>
          </p:cNvPr>
          <p:cNvGraphicFramePr>
            <a:graphicFrameLocks/>
          </p:cNvGraphicFramePr>
          <p:nvPr>
            <p:extLst>
              <p:ext uri="{D42A27DB-BD31-4B8C-83A1-F6EECF244321}">
                <p14:modId xmlns:p14="http://schemas.microsoft.com/office/powerpoint/2010/main" val="4171023131"/>
              </p:ext>
            </p:extLst>
          </p:nvPr>
        </p:nvGraphicFramePr>
        <p:xfrm>
          <a:off x="907981" y="2226391"/>
          <a:ext cx="7740000" cy="8839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2">
            <a:extLst>
              <a:ext uri="{FF2B5EF4-FFF2-40B4-BE49-F238E27FC236}">
                <a16:creationId xmlns:a16="http://schemas.microsoft.com/office/drawing/2014/main" id="{8045044B-F89E-09A8-5E36-8D8608CD8A9F}"/>
              </a:ext>
            </a:extLst>
          </p:cNvPr>
          <p:cNvGraphicFramePr>
            <a:graphicFrameLocks/>
          </p:cNvGraphicFramePr>
          <p:nvPr>
            <p:extLst>
              <p:ext uri="{D42A27DB-BD31-4B8C-83A1-F6EECF244321}">
                <p14:modId xmlns:p14="http://schemas.microsoft.com/office/powerpoint/2010/main" val="1582608468"/>
              </p:ext>
            </p:extLst>
          </p:nvPr>
        </p:nvGraphicFramePr>
        <p:xfrm>
          <a:off x="907981" y="3277698"/>
          <a:ext cx="7740000" cy="14550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446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D5202D-A6C3-32ED-9277-F1702C91ADE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9A04BAD-47BC-2298-1C16-B4C36E5DCA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7EF4ADA-B7D7-369C-A15C-4B55E08410F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678C2E9D-5AF4-53D6-B317-3A070178575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8E811E2-3B37-F4EB-21D5-6CED2A47B20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15" name="Data Source">
            <a:extLst>
              <a:ext uri="{FF2B5EF4-FFF2-40B4-BE49-F238E27FC236}">
                <a16:creationId xmlns:a16="http://schemas.microsoft.com/office/drawing/2014/main" id="{89910504-1DAA-5B13-AAC8-EE6F2AE94A85}"/>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8DE4D359-B6FF-DFAA-C099-A1C1B7AAA676}"/>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6C45166-D38E-1C96-444C-127C8300032B}"/>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81483C84-291D-696C-5801-C6D78552189A}"/>
              </a:ext>
            </a:extLst>
          </p:cNvPr>
          <p:cNvGraphicFramePr>
            <a:graphicFrameLocks noGrp="1"/>
          </p:cNvGraphicFramePr>
          <p:nvPr>
            <p:extLst>
              <p:ext uri="{D42A27DB-BD31-4B8C-83A1-F6EECF244321}">
                <p14:modId xmlns:p14="http://schemas.microsoft.com/office/powerpoint/2010/main" val="306748637"/>
              </p:ext>
            </p:extLst>
          </p:nvPr>
        </p:nvGraphicFramePr>
        <p:xfrm>
          <a:off x="543331" y="1131888"/>
          <a:ext cx="303523" cy="3449528"/>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862382">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862382">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862382">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862382">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C57BF963-75C8-3509-DF34-736E47CD2177}"/>
              </a:ext>
            </a:extLst>
          </p:cNvPr>
          <p:cNvGraphicFramePr>
            <a:graphicFrameLocks/>
          </p:cNvGraphicFramePr>
          <p:nvPr>
            <p:extLst>
              <p:ext uri="{D42A27DB-BD31-4B8C-83A1-F6EECF244321}">
                <p14:modId xmlns:p14="http://schemas.microsoft.com/office/powerpoint/2010/main" val="1633204920"/>
              </p:ext>
            </p:extLst>
          </p:nvPr>
        </p:nvGraphicFramePr>
        <p:xfrm>
          <a:off x="905321" y="1131888"/>
          <a:ext cx="7740000" cy="8297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2">
            <a:extLst>
              <a:ext uri="{FF2B5EF4-FFF2-40B4-BE49-F238E27FC236}">
                <a16:creationId xmlns:a16="http://schemas.microsoft.com/office/drawing/2014/main" id="{EF638191-9AD3-F53C-53D9-07617BF27424}"/>
              </a:ext>
            </a:extLst>
          </p:cNvPr>
          <p:cNvGraphicFramePr>
            <a:graphicFrameLocks/>
          </p:cNvGraphicFramePr>
          <p:nvPr>
            <p:extLst>
              <p:ext uri="{D42A27DB-BD31-4B8C-83A1-F6EECF244321}">
                <p14:modId xmlns:p14="http://schemas.microsoft.com/office/powerpoint/2010/main" val="974424976"/>
              </p:ext>
            </p:extLst>
          </p:nvPr>
        </p:nvGraphicFramePr>
        <p:xfrm>
          <a:off x="899999" y="1966133"/>
          <a:ext cx="7740000" cy="88150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2">
            <a:extLst>
              <a:ext uri="{FF2B5EF4-FFF2-40B4-BE49-F238E27FC236}">
                <a16:creationId xmlns:a16="http://schemas.microsoft.com/office/drawing/2014/main" id="{12FB3567-7AEE-DDCE-0F01-65DD58CA4903}"/>
              </a:ext>
            </a:extLst>
          </p:cNvPr>
          <p:cNvGraphicFramePr>
            <a:graphicFrameLocks/>
          </p:cNvGraphicFramePr>
          <p:nvPr>
            <p:extLst>
              <p:ext uri="{D42A27DB-BD31-4B8C-83A1-F6EECF244321}">
                <p14:modId xmlns:p14="http://schemas.microsoft.com/office/powerpoint/2010/main" val="3691157756"/>
              </p:ext>
            </p:extLst>
          </p:nvPr>
        </p:nvGraphicFramePr>
        <p:xfrm>
          <a:off x="907981" y="2852145"/>
          <a:ext cx="7740000" cy="838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2">
            <a:extLst>
              <a:ext uri="{FF2B5EF4-FFF2-40B4-BE49-F238E27FC236}">
                <a16:creationId xmlns:a16="http://schemas.microsoft.com/office/drawing/2014/main" id="{64B9AD7D-6434-9BA5-BAEF-8937575651AC}"/>
              </a:ext>
            </a:extLst>
          </p:cNvPr>
          <p:cNvGraphicFramePr>
            <a:graphicFrameLocks/>
          </p:cNvGraphicFramePr>
          <p:nvPr>
            <p:extLst>
              <p:ext uri="{D42A27DB-BD31-4B8C-83A1-F6EECF244321}">
                <p14:modId xmlns:p14="http://schemas.microsoft.com/office/powerpoint/2010/main" val="1504638670"/>
              </p:ext>
            </p:extLst>
          </p:nvPr>
        </p:nvGraphicFramePr>
        <p:xfrm>
          <a:off x="902660" y="3695102"/>
          <a:ext cx="7740000" cy="103765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4466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0655E-8CB4-1D8A-2F67-11036FB1C5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31CD73C-E590-EB05-5ED8-56326A9D19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5CF5C216-E226-2145-E009-09D6B5104631}"/>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1A9E1F83-6D9E-3659-4EE6-D57E161E532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8D7ED125-994F-1785-565C-E7812D951F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15" name="Data Source">
            <a:extLst>
              <a:ext uri="{FF2B5EF4-FFF2-40B4-BE49-F238E27FC236}">
                <a16:creationId xmlns:a16="http://schemas.microsoft.com/office/drawing/2014/main" id="{F02DADCC-9D3D-E6AF-CDD0-F77F2E475948}"/>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E6457AB-1F75-EDF5-28B3-59703DC43C13}"/>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3B2A807A-B447-E219-9089-DFE5CD3E5824}"/>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2771134-BE5D-B1B3-276E-D11D4EFD762C}"/>
              </a:ext>
            </a:extLst>
          </p:cNvPr>
          <p:cNvGraphicFramePr>
            <a:graphicFrameLocks noGrp="1"/>
          </p:cNvGraphicFramePr>
          <p:nvPr>
            <p:extLst>
              <p:ext uri="{D42A27DB-BD31-4B8C-83A1-F6EECF244321}">
                <p14:modId xmlns:p14="http://schemas.microsoft.com/office/powerpoint/2010/main" val="1862000568"/>
              </p:ext>
            </p:extLst>
          </p:nvPr>
        </p:nvGraphicFramePr>
        <p:xfrm>
          <a:off x="543331" y="1131888"/>
          <a:ext cx="303523" cy="3449525"/>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689905">
                <a:tc>
                  <a:txBody>
                    <a:bodyPr/>
                    <a:lstStyle/>
                    <a:p>
                      <a:pPr algn="ctr" fontAlgn="b"/>
                      <a:r>
                        <a:rPr lang="en-US" sz="800" b="0" kern="1200" dirty="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689905">
                <a:tc>
                  <a:txBody>
                    <a:bodyPr/>
                    <a:lstStyle/>
                    <a:p>
                      <a:pPr algn="ctr" fontAlgn="b"/>
                      <a:r>
                        <a:rPr lang="en-US" sz="800" b="0" kern="1200" dirty="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689905">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689905">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689905">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B9DFD641-2D89-817B-F509-F81D8C8D4FDC}"/>
              </a:ext>
            </a:extLst>
          </p:cNvPr>
          <p:cNvGraphicFramePr>
            <a:graphicFrameLocks/>
          </p:cNvGraphicFramePr>
          <p:nvPr>
            <p:extLst>
              <p:ext uri="{D42A27DB-BD31-4B8C-83A1-F6EECF244321}">
                <p14:modId xmlns:p14="http://schemas.microsoft.com/office/powerpoint/2010/main" val="2741958359"/>
              </p:ext>
            </p:extLst>
          </p:nvPr>
        </p:nvGraphicFramePr>
        <p:xfrm>
          <a:off x="907980" y="1158059"/>
          <a:ext cx="7740000" cy="5857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2">
            <a:extLst>
              <a:ext uri="{FF2B5EF4-FFF2-40B4-BE49-F238E27FC236}">
                <a16:creationId xmlns:a16="http://schemas.microsoft.com/office/drawing/2014/main" id="{F28A4806-C4BC-CDEF-FEF0-6680E060DD1E}"/>
              </a:ext>
            </a:extLst>
          </p:cNvPr>
          <p:cNvGraphicFramePr>
            <a:graphicFrameLocks/>
          </p:cNvGraphicFramePr>
          <p:nvPr>
            <p:extLst>
              <p:ext uri="{D42A27DB-BD31-4B8C-83A1-F6EECF244321}">
                <p14:modId xmlns:p14="http://schemas.microsoft.com/office/powerpoint/2010/main" val="3213097543"/>
              </p:ext>
            </p:extLst>
          </p:nvPr>
        </p:nvGraphicFramePr>
        <p:xfrm>
          <a:off x="907980" y="2584624"/>
          <a:ext cx="7740000" cy="5566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2">
            <a:extLst>
              <a:ext uri="{FF2B5EF4-FFF2-40B4-BE49-F238E27FC236}">
                <a16:creationId xmlns:a16="http://schemas.microsoft.com/office/drawing/2014/main" id="{62D25DF2-0ECE-3D25-96A0-9A016CFBBAE8}"/>
              </a:ext>
            </a:extLst>
          </p:cNvPr>
          <p:cNvGraphicFramePr>
            <a:graphicFrameLocks/>
          </p:cNvGraphicFramePr>
          <p:nvPr>
            <p:extLst>
              <p:ext uri="{D42A27DB-BD31-4B8C-83A1-F6EECF244321}">
                <p14:modId xmlns:p14="http://schemas.microsoft.com/office/powerpoint/2010/main" val="4195248072"/>
              </p:ext>
            </p:extLst>
          </p:nvPr>
        </p:nvGraphicFramePr>
        <p:xfrm>
          <a:off x="886947" y="1886858"/>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2">
            <a:extLst>
              <a:ext uri="{FF2B5EF4-FFF2-40B4-BE49-F238E27FC236}">
                <a16:creationId xmlns:a16="http://schemas.microsoft.com/office/drawing/2014/main" id="{6A8C2FF1-FD36-C88F-E856-58E4D7A8DBB2}"/>
              </a:ext>
            </a:extLst>
          </p:cNvPr>
          <p:cNvGraphicFramePr>
            <a:graphicFrameLocks/>
          </p:cNvGraphicFramePr>
          <p:nvPr>
            <p:extLst>
              <p:ext uri="{D42A27DB-BD31-4B8C-83A1-F6EECF244321}">
                <p14:modId xmlns:p14="http://schemas.microsoft.com/office/powerpoint/2010/main" val="2982863668"/>
              </p:ext>
            </p:extLst>
          </p:nvPr>
        </p:nvGraphicFramePr>
        <p:xfrm>
          <a:off x="907980" y="3290250"/>
          <a:ext cx="7740000" cy="5970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2">
            <a:extLst>
              <a:ext uri="{FF2B5EF4-FFF2-40B4-BE49-F238E27FC236}">
                <a16:creationId xmlns:a16="http://schemas.microsoft.com/office/drawing/2014/main" id="{511B7199-E6F3-F60A-0FF1-398C39B9385A}"/>
              </a:ext>
            </a:extLst>
          </p:cNvPr>
          <p:cNvGraphicFramePr>
            <a:graphicFrameLocks/>
          </p:cNvGraphicFramePr>
          <p:nvPr>
            <p:extLst>
              <p:ext uri="{D42A27DB-BD31-4B8C-83A1-F6EECF244321}">
                <p14:modId xmlns:p14="http://schemas.microsoft.com/office/powerpoint/2010/main" val="2319801538"/>
              </p:ext>
            </p:extLst>
          </p:nvPr>
        </p:nvGraphicFramePr>
        <p:xfrm>
          <a:off x="907980" y="3935405"/>
          <a:ext cx="7740000" cy="75064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4918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B83FA-25E7-DE07-8B53-04BAFD151C58}"/>
            </a:ext>
          </a:extLst>
        </p:cNvPr>
        <p:cNvGrpSpPr/>
        <p:nvPr/>
      </p:nvGrpSpPr>
      <p:grpSpPr>
        <a:xfrm>
          <a:off x="0" y="0"/>
          <a:ext cx="0" cy="0"/>
          <a:chOff x="0" y="0"/>
          <a:chExt cx="0" cy="0"/>
        </a:xfrm>
      </p:grpSpPr>
      <p:graphicFrame>
        <p:nvGraphicFramePr>
          <p:cNvPr id="9" name="C2">
            <a:extLst>
              <a:ext uri="{FF2B5EF4-FFF2-40B4-BE49-F238E27FC236}">
                <a16:creationId xmlns:a16="http://schemas.microsoft.com/office/drawing/2014/main" id="{BE678AEC-A4B5-C9F9-80CE-D7E32C488EBE}"/>
              </a:ext>
            </a:extLst>
          </p:cNvPr>
          <p:cNvGraphicFramePr>
            <a:graphicFrameLocks/>
          </p:cNvGraphicFramePr>
          <p:nvPr/>
        </p:nvGraphicFramePr>
        <p:xfrm>
          <a:off x="907979" y="1138960"/>
          <a:ext cx="7740000" cy="5857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9EEAC255-6727-4085-14F1-21E806920E3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83A24B6-D0A1-39B1-D984-08A87E034EF5}"/>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9/22/2025</a:t>
            </a:fld>
            <a:endParaRPr lang="en-US" noProof="0"/>
          </a:p>
        </p:txBody>
      </p:sp>
      <p:sp>
        <p:nvSpPr>
          <p:cNvPr id="4" name="Footer" hidden="1">
            <a:extLst>
              <a:ext uri="{FF2B5EF4-FFF2-40B4-BE49-F238E27FC236}">
                <a16:creationId xmlns:a16="http://schemas.microsoft.com/office/drawing/2014/main" id="{EC2C6277-90AE-34F1-0B49-8ACE302DD9FD}"/>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0EC90219-A7DE-540F-C396-DE4AEAA21E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15" name="Data Source">
            <a:extLst>
              <a:ext uri="{FF2B5EF4-FFF2-40B4-BE49-F238E27FC236}">
                <a16:creationId xmlns:a16="http://schemas.microsoft.com/office/drawing/2014/main" id="{B96ABA59-59CE-92E3-B26E-33B3646BE57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00F15F92-1E72-AF73-7DFB-9675DBA7F295}"/>
              </a:ext>
            </a:extLst>
          </p:cNvPr>
          <p:cNvSpPr>
            <a:spLocks noGrp="1"/>
          </p:cNvSpPr>
          <p:nvPr>
            <p:ph type="body" sz="quarter" idx="18"/>
          </p:nvPr>
        </p:nvSpPr>
        <p:spPr>
          <a:xfrm>
            <a:off x="503238" y="774000"/>
            <a:ext cx="8136762" cy="360000"/>
          </a:xfrm>
        </p:spPr>
        <p:txBody>
          <a:bodyPr/>
          <a:lstStyle/>
          <a:p>
            <a:r>
              <a:rPr lang="en-US" dirty="0"/>
              <a:t>Seasonality Index | By Sector | National | P3Y</a:t>
            </a:r>
          </a:p>
        </p:txBody>
      </p:sp>
      <p:sp>
        <p:nvSpPr>
          <p:cNvPr id="10" name="Title">
            <a:extLst>
              <a:ext uri="{FF2B5EF4-FFF2-40B4-BE49-F238E27FC236}">
                <a16:creationId xmlns:a16="http://schemas.microsoft.com/office/drawing/2014/main" id="{282858EF-8996-5EED-CB80-83A6E21B8CB3}"/>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DAE7F43B-898E-480F-59F3-2AF75BCF1981}"/>
              </a:ext>
            </a:extLst>
          </p:cNvPr>
          <p:cNvGraphicFramePr>
            <a:graphicFrameLocks noGrp="1"/>
          </p:cNvGraphicFramePr>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574921">
                <a:tc>
                  <a:txBody>
                    <a:bodyPr/>
                    <a:lstStyle/>
                    <a:p>
                      <a:pPr algn="ctr" fontAlgn="b"/>
                      <a:r>
                        <a:rPr lang="en-US" sz="800" b="0" kern="1200">
                          <a:solidFill>
                            <a:srgbClr val="575555"/>
                          </a:solidFill>
                          <a:latin typeface="Nexa Bold"/>
                          <a:ea typeface="+mn-ea"/>
                          <a:cs typeface="+mn-cs"/>
                        </a:rPr>
                        <a:t>Beer</a:t>
                      </a:r>
                    </a:p>
                  </a:txBody>
                  <a:tcPr marL="4763" marR="4763" marT="4763" marB="0" vert="vert270" anchor="ctr">
                    <a:solidFill>
                      <a:schemeClr val="bg1">
                        <a:lumMod val="95000"/>
                      </a:schemeClr>
                    </a:solidFill>
                  </a:tcPr>
                </a:tc>
                <a:extLst>
                  <a:ext uri="{0D108BD9-81ED-4DB2-BD59-A6C34878D82A}">
                    <a16:rowId xmlns:a16="http://schemas.microsoft.com/office/drawing/2014/main" val="2185244123"/>
                  </a:ext>
                </a:extLst>
              </a:tr>
              <a:tr h="574921">
                <a:tc>
                  <a:txBody>
                    <a:bodyPr/>
                    <a:lstStyle/>
                    <a:p>
                      <a:pPr algn="ctr" fontAlgn="b"/>
                      <a:r>
                        <a:rPr lang="en-US" sz="800" b="0" kern="1200">
                          <a:solidFill>
                            <a:srgbClr val="575555"/>
                          </a:solidFill>
                          <a:latin typeface="Nexa Bold"/>
                          <a:ea typeface="+mn-ea"/>
                          <a:cs typeface="+mn-cs"/>
                        </a:rPr>
                        <a:t>NRGB</a:t>
                      </a:r>
                    </a:p>
                  </a:txBody>
                  <a:tcPr marL="4763" marR="4763" marT="4763" marB="0" vert="vert270" anchor="ctr">
                    <a:solidFill>
                      <a:schemeClr val="bg1">
                        <a:lumMod val="95000"/>
                      </a:schemeClr>
                    </a:solidFill>
                  </a:tcPr>
                </a:tc>
                <a:extLst>
                  <a:ext uri="{0D108BD9-81ED-4DB2-BD59-A6C34878D82A}">
                    <a16:rowId xmlns:a16="http://schemas.microsoft.com/office/drawing/2014/main" val="3908580997"/>
                  </a:ext>
                </a:extLst>
              </a:tr>
              <a:tr h="574921">
                <a:tc>
                  <a:txBody>
                    <a:bodyPr/>
                    <a:lstStyle/>
                    <a:p>
                      <a:pPr algn="ctr" fontAlgn="b"/>
                      <a:r>
                        <a:rPr lang="en-US" sz="800" b="0" kern="1200">
                          <a:solidFill>
                            <a:srgbClr val="575555"/>
                          </a:solidFill>
                          <a:latin typeface="Nexa Bold"/>
                          <a:ea typeface="+mn-ea"/>
                          <a:cs typeface="+mn-cs"/>
                        </a:rPr>
                        <a:t> Can</a:t>
                      </a:r>
                    </a:p>
                  </a:txBody>
                  <a:tcPr marL="4763" marR="4763" marT="4763" marB="0" vert="vert270" anchor="ctr">
                    <a:solidFill>
                      <a:schemeClr val="bg1">
                        <a:lumMod val="95000"/>
                      </a:schemeClr>
                    </a:solidFill>
                  </a:tcPr>
                </a:tc>
                <a:extLst>
                  <a:ext uri="{0D108BD9-81ED-4DB2-BD59-A6C34878D82A}">
                    <a16:rowId xmlns:a16="http://schemas.microsoft.com/office/drawing/2014/main" val="1323519937"/>
                  </a:ext>
                </a:extLst>
              </a:tr>
              <a:tr h="574921">
                <a:tc>
                  <a:txBody>
                    <a:bodyPr/>
                    <a:lstStyle/>
                    <a:p>
                      <a:pPr algn="ctr" fontAlgn="b"/>
                      <a:r>
                        <a:rPr lang="en-US" sz="800" b="0" kern="1200">
                          <a:solidFill>
                            <a:srgbClr val="575555"/>
                          </a:solidFill>
                          <a:latin typeface="Nexa Bold"/>
                          <a:ea typeface="+mn-ea"/>
                          <a:cs typeface="+mn-cs"/>
                        </a:rPr>
                        <a:t>Big PET</a:t>
                      </a:r>
                    </a:p>
                  </a:txBody>
                  <a:tcPr marL="4763" marR="4763" marT="4763" marB="0" vert="vert270" anchor="ctr">
                    <a:solidFill>
                      <a:schemeClr val="bg1">
                        <a:lumMod val="95000"/>
                      </a:schemeClr>
                    </a:solidFill>
                  </a:tcPr>
                </a:tc>
                <a:extLst>
                  <a:ext uri="{0D108BD9-81ED-4DB2-BD59-A6C34878D82A}">
                    <a16:rowId xmlns:a16="http://schemas.microsoft.com/office/drawing/2014/main" val="1691032331"/>
                  </a:ext>
                </a:extLst>
              </a:tr>
              <a:tr h="574921">
                <a:tc>
                  <a:txBody>
                    <a:bodyPr/>
                    <a:lstStyle/>
                    <a:p>
                      <a:pPr algn="ctr" fontAlgn="b"/>
                      <a:r>
                        <a:rPr lang="en-US" sz="800" b="0" kern="120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574921">
                <a:tc>
                  <a:txBody>
                    <a:bodyPr/>
                    <a:lstStyle/>
                    <a:p>
                      <a:pPr algn="ctr" fontAlgn="b"/>
                      <a:r>
                        <a:rPr lang="en-US" sz="800" b="0" kern="120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17" name="C2">
            <a:extLst>
              <a:ext uri="{FF2B5EF4-FFF2-40B4-BE49-F238E27FC236}">
                <a16:creationId xmlns:a16="http://schemas.microsoft.com/office/drawing/2014/main" id="{723B5DF6-FE6E-DB7A-FA74-49D5B6F8EA33}"/>
              </a:ext>
            </a:extLst>
          </p:cNvPr>
          <p:cNvGraphicFramePr>
            <a:graphicFrameLocks/>
          </p:cNvGraphicFramePr>
          <p:nvPr/>
        </p:nvGraphicFramePr>
        <p:xfrm>
          <a:off x="907981" y="1725153"/>
          <a:ext cx="7740000" cy="5857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2">
            <a:extLst>
              <a:ext uri="{FF2B5EF4-FFF2-40B4-BE49-F238E27FC236}">
                <a16:creationId xmlns:a16="http://schemas.microsoft.com/office/drawing/2014/main" id="{3D556AA6-9118-6215-BF32-A68619F3BA2A}"/>
              </a:ext>
            </a:extLst>
          </p:cNvPr>
          <p:cNvGraphicFramePr>
            <a:graphicFrameLocks/>
          </p:cNvGraphicFramePr>
          <p:nvPr/>
        </p:nvGraphicFramePr>
        <p:xfrm>
          <a:off x="907981" y="2874966"/>
          <a:ext cx="7740000" cy="5566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2">
            <a:extLst>
              <a:ext uri="{FF2B5EF4-FFF2-40B4-BE49-F238E27FC236}">
                <a16:creationId xmlns:a16="http://schemas.microsoft.com/office/drawing/2014/main" id="{F7BFE405-F459-8E06-73F0-AA291BEF8F01}"/>
              </a:ext>
            </a:extLst>
          </p:cNvPr>
          <p:cNvGraphicFramePr>
            <a:graphicFrameLocks/>
          </p:cNvGraphicFramePr>
          <p:nvPr/>
        </p:nvGraphicFramePr>
        <p:xfrm>
          <a:off x="907980" y="2318334"/>
          <a:ext cx="7740000" cy="5566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2">
            <a:extLst>
              <a:ext uri="{FF2B5EF4-FFF2-40B4-BE49-F238E27FC236}">
                <a16:creationId xmlns:a16="http://schemas.microsoft.com/office/drawing/2014/main" id="{122DB804-8F64-63C6-36D5-C84BB8890B23}"/>
              </a:ext>
            </a:extLst>
          </p:cNvPr>
          <p:cNvGraphicFramePr>
            <a:graphicFrameLocks/>
          </p:cNvGraphicFramePr>
          <p:nvPr/>
        </p:nvGraphicFramePr>
        <p:xfrm>
          <a:off x="907981" y="3431840"/>
          <a:ext cx="7740000" cy="59709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C2">
            <a:extLst>
              <a:ext uri="{FF2B5EF4-FFF2-40B4-BE49-F238E27FC236}">
                <a16:creationId xmlns:a16="http://schemas.microsoft.com/office/drawing/2014/main" id="{95C8C92F-978E-694A-EB7F-CD48B70EDA43}"/>
              </a:ext>
            </a:extLst>
          </p:cNvPr>
          <p:cNvGraphicFramePr>
            <a:graphicFrameLocks/>
          </p:cNvGraphicFramePr>
          <p:nvPr/>
        </p:nvGraphicFramePr>
        <p:xfrm>
          <a:off x="907981" y="4029177"/>
          <a:ext cx="7740000" cy="75064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21989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9F713-CB4C-7BD6-DC55-DEC948F8D8D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AC19F0-BB46-358A-B6C6-69127B12EE7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B2D61BD4-0BF8-D200-23F1-FABD5C28762A}"/>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22/2025</a:t>
            </a:fld>
            <a:endParaRPr lang="en-US" noProof="0"/>
          </a:p>
        </p:txBody>
      </p:sp>
      <p:sp>
        <p:nvSpPr>
          <p:cNvPr id="2" name="Footer Placeholder 1">
            <a:extLst>
              <a:ext uri="{FF2B5EF4-FFF2-40B4-BE49-F238E27FC236}">
                <a16:creationId xmlns:a16="http://schemas.microsoft.com/office/drawing/2014/main" id="{CEA02AA9-AEDE-6252-139F-DAF1465C978F}"/>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297EBF08-74B8-16C6-0E52-DBD051CE042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FEB2B946-9464-30C9-B43F-F137B55A3C7E}"/>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12A61832-B208-AA5B-E40E-DC5C53D72915}"/>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55B37E12-511C-C8BB-B144-290B6993E0BC}"/>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D4DEAD75-1470-58B2-6F9F-189D37AE5FA9}"/>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D1AAD118-3982-3FE6-AB4A-7E682A04C6BF}"/>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0EFDBF96-F62B-3594-2822-E2757DE13622}"/>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35E12F0-14E9-0AF5-383D-C71312A22ACB}"/>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3" name="Table 2">
            <a:extLst>
              <a:ext uri="{FF2B5EF4-FFF2-40B4-BE49-F238E27FC236}">
                <a16:creationId xmlns:a16="http://schemas.microsoft.com/office/drawing/2014/main" id="{C8272231-EDA3-2EB4-E976-3F0F0B6DED41}"/>
              </a:ext>
            </a:extLst>
          </p:cNvPr>
          <p:cNvGraphicFramePr>
            <a:graphicFrameLocks noGrp="1"/>
          </p:cNvGraphicFramePr>
          <p:nvPr/>
        </p:nvGraphicFramePr>
        <p:xfrm>
          <a:off x="546968" y="1364051"/>
          <a:ext cx="801009" cy="957556"/>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a:highlight>
                            <a:srgbClr val="FFFF00"/>
                          </a:highlight>
                          <a:latin typeface="Nexa Bold" panose="00000800000000000000" pitchFamily="2" charset="0"/>
                        </a:rPr>
                        <a:t>Kaufland</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bl>
          </a:graphicData>
        </a:graphic>
      </p:graphicFrame>
      <p:graphicFrame>
        <p:nvGraphicFramePr>
          <p:cNvPr id="10" name="Chart 9">
            <a:extLst>
              <a:ext uri="{FF2B5EF4-FFF2-40B4-BE49-F238E27FC236}">
                <a16:creationId xmlns:a16="http://schemas.microsoft.com/office/drawing/2014/main" id="{AF688A9F-6A1E-E8D1-5206-5F35E0C223EA}"/>
              </a:ext>
            </a:extLst>
          </p:cNvPr>
          <p:cNvGraphicFramePr/>
          <p:nvPr>
            <p:extLst>
              <p:ext uri="{D42A27DB-BD31-4B8C-83A1-F6EECF244321}">
                <p14:modId xmlns:p14="http://schemas.microsoft.com/office/powerpoint/2010/main" val="1251783051"/>
              </p:ext>
            </p:extLst>
          </p:nvPr>
        </p:nvGraphicFramePr>
        <p:xfrm>
          <a:off x="1347976" y="1333400"/>
          <a:ext cx="7300566" cy="15103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16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2466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9/22/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99852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31242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77754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508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9/22/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2599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9/22/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r>
              <a:rPr lang="en-US" dirty="0"/>
              <a:t>Ranked by Incremental Value</a:t>
            </a:r>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48136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9/22/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5372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9/22/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B99D6BF8-7FB5-6564-6543-3CFF5B6DB850}"/>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065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9/22/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7" name="TextBox 6">
            <a:extLst>
              <a:ext uri="{FF2B5EF4-FFF2-40B4-BE49-F238E27FC236}">
                <a16:creationId xmlns:a16="http://schemas.microsoft.com/office/drawing/2014/main" id="{134FBE35-BB2F-B6D5-5695-620060B51026}"/>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93699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9/22/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40629822"/>
              </p:ext>
            </p:extLst>
          </p:nvPr>
        </p:nvGraphicFramePr>
        <p:xfrm>
          <a:off x="284737" y="1013846"/>
          <a:ext cx="8146796" cy="358013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280036">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6912">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6912">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7</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4792547"/>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8</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12054455"/>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9</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4995772"/>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10</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19691683"/>
                  </a:ext>
                </a:extLst>
              </a:tr>
              <a:tr h="26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1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581189229"/>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556109362"/>
              </p:ext>
            </p:extLst>
          </p:nvPr>
        </p:nvGraphicFramePr>
        <p:xfrm>
          <a:off x="964436" y="1391257"/>
          <a:ext cx="2241000" cy="35112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3335049067"/>
              </p:ext>
            </p:extLst>
          </p:nvPr>
        </p:nvGraphicFramePr>
        <p:xfrm>
          <a:off x="3451119" y="1391257"/>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663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TotalTime>
  <Words>3870</Words>
  <Application>Microsoft Office PowerPoint</Application>
  <PresentationFormat>On-screen Show (16:9)</PresentationFormat>
  <Paragraphs>1434</Paragraphs>
  <Slides>30</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VSOD Summary by Sector (Replace With SO WHAT)</vt:lpstr>
      <vt:lpstr>Value uplift by retailer by brand (Replace With SO WHAT)</vt:lpstr>
      <vt:lpstr>Volume Uplift vs discount depth (Replace With SO WHAT)</vt:lpstr>
      <vt:lpstr>Value Uplift vs Promo Efficiency Quadrant (Replace With SO WHAT)</vt:lpstr>
      <vt:lpstr>Top 20 promotions (Replace With SO WHAT)</vt:lpstr>
      <vt:lpstr>Top 20 promotions CLIENT ONLY (Replace With SO WHAT)</vt:lpstr>
      <vt:lpstr>Bottom 20 promotions CLIENT ONLY (Replace With SO WHAT)</vt:lpstr>
      <vt:lpstr>Volume Sold on Deal (Replace With SO WHAT)</vt:lpstr>
      <vt:lpstr>Promo share vs Value Share (Replace With SO WHAT)</vt:lpstr>
      <vt:lpstr>Promo Sales by total size (Replace With SO WHAT)</vt:lpstr>
      <vt:lpstr>Promo Sales by promo type (Replace With SO WHAT)</vt:lpstr>
      <vt:lpstr>Feature Share vs. Fair Share (Replace With SO WHAT)</vt:lpstr>
      <vt:lpstr>Display Share vs. Fair Share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Yomna ABDULLATIF</cp:lastModifiedBy>
  <cp:revision>63</cp:revision>
  <dcterms:created xsi:type="dcterms:W3CDTF">2024-07-08T12:46:55Z</dcterms:created>
  <dcterms:modified xsi:type="dcterms:W3CDTF">2025-09-22T13:2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